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19"/>
  </p:notesMasterIdLst>
  <p:sldIdLst>
    <p:sldId id="526" r:id="rId2"/>
    <p:sldId id="530" r:id="rId3"/>
    <p:sldId id="556" r:id="rId4"/>
    <p:sldId id="546" r:id="rId5"/>
    <p:sldId id="558" r:id="rId6"/>
    <p:sldId id="553" r:id="rId7"/>
    <p:sldId id="548" r:id="rId8"/>
    <p:sldId id="550" r:id="rId9"/>
    <p:sldId id="541" r:id="rId10"/>
    <p:sldId id="551" r:id="rId11"/>
    <p:sldId id="552" r:id="rId12"/>
    <p:sldId id="537" r:id="rId13"/>
    <p:sldId id="555" r:id="rId14"/>
    <p:sldId id="554" r:id="rId15"/>
    <p:sldId id="528" r:id="rId16"/>
    <p:sldId id="543" r:id="rId17"/>
    <p:sldId id="557" r:id="rId18"/>
  </p:sldIdLst>
  <p:sldSz cx="12192000" cy="6858000"/>
  <p:notesSz cx="6858000" cy="9144000"/>
  <p:embeddedFontLst>
    <p:embeddedFont>
      <p:font typeface="Calibri" panose="020F0502020204030204" pitchFamily="34" charset="0"/>
      <p:regular r:id="rId20"/>
      <p:bold r:id="rId21"/>
      <p:italic r:id="rId22"/>
      <p:boldItalic r:id="rId23"/>
    </p:embeddedFont>
    <p:embeddedFont>
      <p:font typeface="Lucida Sans" panose="020B0602030504020204" pitchFamily="34" charset="0"/>
      <p:regular r:id="rId24"/>
      <p:bold r:id="rId25"/>
      <p:italic r:id="rId26"/>
      <p:boldItalic r:id="rId27"/>
    </p:embeddedFont>
  </p:embeddedFontLst>
  <p:custDataLst>
    <p:tags r:id="rId28"/>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32F60"/>
    <a:srgbClr val="D61317"/>
    <a:srgbClr val="B0D6F5"/>
    <a:srgbClr val="F8D057"/>
    <a:srgbClr val="6ABBFF"/>
    <a:srgbClr val="F29A82"/>
    <a:srgbClr val="004C8B"/>
    <a:srgbClr val="D9D9D9"/>
    <a:srgbClr val="F2F2F2"/>
    <a:srgbClr val="2F619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54CA773-4B5A-4616-A292-DF809C6C3D6E}" v="3" dt="2023-06-05T13:13:27.0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38" autoAdjust="0"/>
    <p:restoredTop sz="68556" autoAdjust="0"/>
  </p:normalViewPr>
  <p:slideViewPr>
    <p:cSldViewPr snapToGrid="0">
      <p:cViewPr varScale="1">
        <p:scale>
          <a:sx n="64" d="100"/>
          <a:sy n="64" d="100"/>
        </p:scale>
        <p:origin x="957" y="39"/>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7.fntdata"/><Relationship Id="rId3" Type="http://schemas.openxmlformats.org/officeDocument/2006/relationships/slide" Target="slides/slide2.xml"/><Relationship Id="rId21" Type="http://schemas.openxmlformats.org/officeDocument/2006/relationships/font" Target="fonts/font2.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6.fntdata"/><Relationship Id="rId33"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1.fntdata"/><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5.fntdata"/><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4.fntdata"/><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notesMaster" Target="notesMasters/notesMaster1.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viewProps" Target="viewProps.xml"/><Relationship Id="rId8" Type="http://schemas.openxmlformats.org/officeDocument/2006/relationships/slide" Target="slides/slide7.xml"/></Relationships>
</file>

<file path=ppt/diagrams/_rels/data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svg"/><Relationship Id="rId1" Type="http://schemas.openxmlformats.org/officeDocument/2006/relationships/image" Target="../media/image24.png"/><Relationship Id="rId4" Type="http://schemas.openxmlformats.org/officeDocument/2006/relationships/image" Target="../media/image27.svg"/></Relationships>
</file>

<file path=ppt/diagrams/_rels/drawing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svg"/><Relationship Id="rId1" Type="http://schemas.openxmlformats.org/officeDocument/2006/relationships/image" Target="../media/image24.png"/><Relationship Id="rId4" Type="http://schemas.openxmlformats.org/officeDocument/2006/relationships/image" Target="../media/image27.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B16E97-F67E-4BC8-9A3E-B2CDAC709030}" type="doc">
      <dgm:prSet loTypeId="urn:microsoft.com/office/officeart/2005/8/layout/hProcess6" loCatId="process" qsTypeId="urn:microsoft.com/office/officeart/2005/8/quickstyle/simple1" qsCatId="simple" csTypeId="urn:microsoft.com/office/officeart/2005/8/colors/accent1_2" csCatId="accent1" phldr="1"/>
      <dgm:spPr/>
      <dgm:t>
        <a:bodyPr/>
        <a:lstStyle/>
        <a:p>
          <a:endParaRPr lang="nl-NL"/>
        </a:p>
      </dgm:t>
    </dgm:pt>
    <dgm:pt modelId="{ED9BFB25-E065-4A5E-9F65-BF279D29998F}">
      <dgm:prSet phldrT="[Tekst]" custT="1"/>
      <dgm:spPr/>
      <dgm:t>
        <a:bodyPr/>
        <a:lstStyle/>
        <a:p>
          <a:r>
            <a:rPr lang="nl-NL" sz="1400" dirty="0"/>
            <a:t>Baseline</a:t>
          </a:r>
        </a:p>
      </dgm:t>
    </dgm:pt>
    <dgm:pt modelId="{DF5F49CB-1862-41A4-950C-D056173F718D}" type="parTrans" cxnId="{5EC3C211-D4FF-4F33-9C28-7C4D8AC0F6B7}">
      <dgm:prSet/>
      <dgm:spPr/>
      <dgm:t>
        <a:bodyPr/>
        <a:lstStyle/>
        <a:p>
          <a:endParaRPr lang="nl-NL"/>
        </a:p>
      </dgm:t>
    </dgm:pt>
    <dgm:pt modelId="{AAA9A0AD-D845-4DF8-A31B-3B3B60FD12E9}" type="sibTrans" cxnId="{5EC3C211-D4FF-4F33-9C28-7C4D8AC0F6B7}">
      <dgm:prSet/>
      <dgm:spPr/>
      <dgm:t>
        <a:bodyPr/>
        <a:lstStyle/>
        <a:p>
          <a:endParaRPr lang="nl-NL"/>
        </a:p>
      </dgm:t>
    </dgm:pt>
    <dgm:pt modelId="{48138AF8-8F38-4A7C-95F6-774777AFB8B8}">
      <dgm:prSet phldrT="[Tekst]" custT="1"/>
      <dgm:spPr/>
      <dgm:t>
        <a:bodyPr/>
        <a:lstStyle/>
        <a:p>
          <a:r>
            <a:rPr lang="nl-NL" sz="1800" i="1" dirty="0"/>
            <a:t>N</a:t>
          </a:r>
          <a:r>
            <a:rPr lang="nl-NL" sz="1800" dirty="0"/>
            <a:t> = 145</a:t>
          </a:r>
        </a:p>
      </dgm:t>
    </dgm:pt>
    <dgm:pt modelId="{29572612-D183-406B-BBD2-9953A420BC48}" type="parTrans" cxnId="{219983FD-93AA-47E5-9C70-A4DBF392619F}">
      <dgm:prSet/>
      <dgm:spPr/>
      <dgm:t>
        <a:bodyPr/>
        <a:lstStyle/>
        <a:p>
          <a:endParaRPr lang="nl-NL"/>
        </a:p>
      </dgm:t>
    </dgm:pt>
    <dgm:pt modelId="{BA541D24-C1B8-40D7-BF95-3238AC5460FF}" type="sibTrans" cxnId="{219983FD-93AA-47E5-9C70-A4DBF392619F}">
      <dgm:prSet/>
      <dgm:spPr/>
      <dgm:t>
        <a:bodyPr/>
        <a:lstStyle/>
        <a:p>
          <a:endParaRPr lang="nl-NL"/>
        </a:p>
      </dgm:t>
    </dgm:pt>
    <dgm:pt modelId="{8F5A1410-22D2-4DB4-A1C6-AF44D341D03D}">
      <dgm:prSet phldrT="[Tekst]" custT="1"/>
      <dgm:spPr/>
      <dgm:t>
        <a:bodyPr/>
        <a:lstStyle/>
        <a:p>
          <a:r>
            <a:rPr lang="nl-NL" sz="1200" dirty="0"/>
            <a:t>End-of-treatment</a:t>
          </a:r>
        </a:p>
      </dgm:t>
    </dgm:pt>
    <dgm:pt modelId="{CE5C9B17-0C30-4FA6-8620-3D77B1D31A30}" type="parTrans" cxnId="{54AE04AB-0567-4C62-A54F-A7A5C4B36E4B}">
      <dgm:prSet/>
      <dgm:spPr/>
      <dgm:t>
        <a:bodyPr/>
        <a:lstStyle/>
        <a:p>
          <a:endParaRPr lang="nl-NL"/>
        </a:p>
      </dgm:t>
    </dgm:pt>
    <dgm:pt modelId="{95CB4990-3F7E-4ED5-987B-1D902D885ADC}" type="sibTrans" cxnId="{54AE04AB-0567-4C62-A54F-A7A5C4B36E4B}">
      <dgm:prSet/>
      <dgm:spPr/>
      <dgm:t>
        <a:bodyPr/>
        <a:lstStyle/>
        <a:p>
          <a:endParaRPr lang="nl-NL"/>
        </a:p>
      </dgm:t>
    </dgm:pt>
    <dgm:pt modelId="{D766AE46-A169-4D4E-A727-C19D3601D83B}">
      <dgm:prSet phldrT="[Tekst]" custT="1"/>
      <dgm:spPr/>
      <dgm:t>
        <a:bodyPr/>
        <a:lstStyle/>
        <a:p>
          <a:r>
            <a:rPr lang="nl-NL" sz="1800" i="1" dirty="0"/>
            <a:t>N</a:t>
          </a:r>
          <a:r>
            <a:rPr lang="nl-NL" sz="1800" dirty="0"/>
            <a:t> = 102</a:t>
          </a:r>
        </a:p>
      </dgm:t>
    </dgm:pt>
    <dgm:pt modelId="{C2BA6046-F865-4A35-AF71-857D13B43244}" type="parTrans" cxnId="{FFBEA23F-FD14-4997-869B-F1046C6E1604}">
      <dgm:prSet/>
      <dgm:spPr/>
      <dgm:t>
        <a:bodyPr/>
        <a:lstStyle/>
        <a:p>
          <a:endParaRPr lang="nl-NL"/>
        </a:p>
      </dgm:t>
    </dgm:pt>
    <dgm:pt modelId="{36439891-2DA0-4F7B-841F-F7F6672A1ADF}" type="sibTrans" cxnId="{FFBEA23F-FD14-4997-869B-F1046C6E1604}">
      <dgm:prSet/>
      <dgm:spPr/>
      <dgm:t>
        <a:bodyPr/>
        <a:lstStyle/>
        <a:p>
          <a:endParaRPr lang="nl-NL"/>
        </a:p>
      </dgm:t>
    </dgm:pt>
    <dgm:pt modelId="{E336C01A-94DD-42D0-AA74-842AC62E7021}">
      <dgm:prSet phldrT="[Tekst]" custT="1"/>
      <dgm:spPr/>
      <dgm:t>
        <a:bodyPr/>
        <a:lstStyle/>
        <a:p>
          <a:r>
            <a:rPr lang="nl-NL" sz="1200" dirty="0"/>
            <a:t>3-month follow-up</a:t>
          </a:r>
        </a:p>
      </dgm:t>
    </dgm:pt>
    <dgm:pt modelId="{8BE3A96C-189E-4F98-8CE7-5FDB49C1C3CE}" type="parTrans" cxnId="{F4A4845B-0CB1-4BBB-B167-2EF79C861701}">
      <dgm:prSet/>
      <dgm:spPr/>
      <dgm:t>
        <a:bodyPr/>
        <a:lstStyle/>
        <a:p>
          <a:endParaRPr lang="nl-NL"/>
        </a:p>
      </dgm:t>
    </dgm:pt>
    <dgm:pt modelId="{C2BB398F-2C3C-4E26-B951-27C55904F93C}" type="sibTrans" cxnId="{F4A4845B-0CB1-4BBB-B167-2EF79C861701}">
      <dgm:prSet/>
      <dgm:spPr/>
      <dgm:t>
        <a:bodyPr/>
        <a:lstStyle/>
        <a:p>
          <a:endParaRPr lang="nl-NL"/>
        </a:p>
      </dgm:t>
    </dgm:pt>
    <dgm:pt modelId="{FBBBFAA6-90C9-4D08-B5F2-B9E107E50728}">
      <dgm:prSet phldrT="[Tekst]" custT="1"/>
      <dgm:spPr/>
      <dgm:t>
        <a:bodyPr/>
        <a:lstStyle/>
        <a:p>
          <a:r>
            <a:rPr lang="nl-NL" sz="2000" i="1" dirty="0"/>
            <a:t>N</a:t>
          </a:r>
          <a:r>
            <a:rPr lang="nl-NL" sz="2000" dirty="0"/>
            <a:t> = 70</a:t>
          </a:r>
        </a:p>
      </dgm:t>
    </dgm:pt>
    <dgm:pt modelId="{51984BD6-5E2E-487B-98C3-A8C4BDA21985}" type="parTrans" cxnId="{CBEC1CF9-01F9-4FD7-A3AC-37DF34D93E19}">
      <dgm:prSet/>
      <dgm:spPr/>
      <dgm:t>
        <a:bodyPr/>
        <a:lstStyle/>
        <a:p>
          <a:endParaRPr lang="nl-NL"/>
        </a:p>
      </dgm:t>
    </dgm:pt>
    <dgm:pt modelId="{D06FCF24-9A97-425A-A8CA-0F16ECCDC541}" type="sibTrans" cxnId="{CBEC1CF9-01F9-4FD7-A3AC-37DF34D93E19}">
      <dgm:prSet/>
      <dgm:spPr/>
      <dgm:t>
        <a:bodyPr/>
        <a:lstStyle/>
        <a:p>
          <a:endParaRPr lang="nl-NL"/>
        </a:p>
      </dgm:t>
    </dgm:pt>
    <dgm:pt modelId="{95654F57-E7E3-4A5E-9CC0-0348E4EEB9A6}" type="pres">
      <dgm:prSet presAssocID="{7BB16E97-F67E-4BC8-9A3E-B2CDAC709030}" presName="theList" presStyleCnt="0">
        <dgm:presLayoutVars>
          <dgm:dir/>
          <dgm:animLvl val="lvl"/>
          <dgm:resizeHandles val="exact"/>
        </dgm:presLayoutVars>
      </dgm:prSet>
      <dgm:spPr/>
    </dgm:pt>
    <dgm:pt modelId="{AD99B5A1-3C18-47AA-9EC4-27655FAC2B9C}" type="pres">
      <dgm:prSet presAssocID="{ED9BFB25-E065-4A5E-9F65-BF279D29998F}" presName="compNode" presStyleCnt="0"/>
      <dgm:spPr/>
    </dgm:pt>
    <dgm:pt modelId="{DF23A112-393C-4684-AB4F-513C2641F53C}" type="pres">
      <dgm:prSet presAssocID="{ED9BFB25-E065-4A5E-9F65-BF279D29998F}" presName="noGeometry" presStyleCnt="0"/>
      <dgm:spPr/>
    </dgm:pt>
    <dgm:pt modelId="{0322F4B5-F6D3-4293-94AB-6D78CD868107}" type="pres">
      <dgm:prSet presAssocID="{ED9BFB25-E065-4A5E-9F65-BF279D29998F}" presName="childTextVisible" presStyleLbl="bgAccFollowNode1" presStyleIdx="0" presStyleCnt="3" custLinFactNeighborX="-661" custLinFactNeighborY="-2246">
        <dgm:presLayoutVars>
          <dgm:bulletEnabled val="1"/>
        </dgm:presLayoutVars>
      </dgm:prSet>
      <dgm:spPr/>
    </dgm:pt>
    <dgm:pt modelId="{E6112F12-661A-4DF3-A5E6-AD088C5C15B5}" type="pres">
      <dgm:prSet presAssocID="{ED9BFB25-E065-4A5E-9F65-BF279D29998F}" presName="childTextHidden" presStyleLbl="bgAccFollowNode1" presStyleIdx="0" presStyleCnt="3"/>
      <dgm:spPr/>
    </dgm:pt>
    <dgm:pt modelId="{DDC93AED-B617-4431-A531-E3A229551E76}" type="pres">
      <dgm:prSet presAssocID="{ED9BFB25-E065-4A5E-9F65-BF279D29998F}" presName="parentText" presStyleLbl="node1" presStyleIdx="0" presStyleCnt="3">
        <dgm:presLayoutVars>
          <dgm:chMax val="1"/>
          <dgm:bulletEnabled val="1"/>
        </dgm:presLayoutVars>
      </dgm:prSet>
      <dgm:spPr/>
    </dgm:pt>
    <dgm:pt modelId="{3EA05263-245B-438B-A5E4-99B5FDC9F738}" type="pres">
      <dgm:prSet presAssocID="{ED9BFB25-E065-4A5E-9F65-BF279D29998F}" presName="aSpace" presStyleCnt="0"/>
      <dgm:spPr/>
    </dgm:pt>
    <dgm:pt modelId="{87E7715D-F6A9-490D-804A-08CBB923B412}" type="pres">
      <dgm:prSet presAssocID="{8F5A1410-22D2-4DB4-A1C6-AF44D341D03D}" presName="compNode" presStyleCnt="0"/>
      <dgm:spPr/>
    </dgm:pt>
    <dgm:pt modelId="{5E5A0ED5-B144-41D7-9FFB-0FC0822BEF08}" type="pres">
      <dgm:prSet presAssocID="{8F5A1410-22D2-4DB4-A1C6-AF44D341D03D}" presName="noGeometry" presStyleCnt="0"/>
      <dgm:spPr/>
    </dgm:pt>
    <dgm:pt modelId="{86F8807B-4EBB-4D8A-9E3D-04DF5FE7D5EE}" type="pres">
      <dgm:prSet presAssocID="{8F5A1410-22D2-4DB4-A1C6-AF44D341D03D}" presName="childTextVisible" presStyleLbl="bgAccFollowNode1" presStyleIdx="1" presStyleCnt="3">
        <dgm:presLayoutVars>
          <dgm:bulletEnabled val="1"/>
        </dgm:presLayoutVars>
      </dgm:prSet>
      <dgm:spPr/>
    </dgm:pt>
    <dgm:pt modelId="{14839606-405B-4976-B785-BADD63A4F64E}" type="pres">
      <dgm:prSet presAssocID="{8F5A1410-22D2-4DB4-A1C6-AF44D341D03D}" presName="childTextHidden" presStyleLbl="bgAccFollowNode1" presStyleIdx="1" presStyleCnt="3"/>
      <dgm:spPr/>
    </dgm:pt>
    <dgm:pt modelId="{CBA45D3C-0139-4CA4-B054-950334164CF2}" type="pres">
      <dgm:prSet presAssocID="{8F5A1410-22D2-4DB4-A1C6-AF44D341D03D}" presName="parentText" presStyleLbl="node1" presStyleIdx="1" presStyleCnt="3">
        <dgm:presLayoutVars>
          <dgm:chMax val="1"/>
          <dgm:bulletEnabled val="1"/>
        </dgm:presLayoutVars>
      </dgm:prSet>
      <dgm:spPr/>
    </dgm:pt>
    <dgm:pt modelId="{EEF9DB4A-62A7-4575-95D1-1F8EB8DBDC8B}" type="pres">
      <dgm:prSet presAssocID="{8F5A1410-22D2-4DB4-A1C6-AF44D341D03D}" presName="aSpace" presStyleCnt="0"/>
      <dgm:spPr/>
    </dgm:pt>
    <dgm:pt modelId="{3061E19E-62B8-40AA-806E-347792E3EFC4}" type="pres">
      <dgm:prSet presAssocID="{E336C01A-94DD-42D0-AA74-842AC62E7021}" presName="compNode" presStyleCnt="0"/>
      <dgm:spPr/>
    </dgm:pt>
    <dgm:pt modelId="{BEFF451E-4CCF-4C8F-BDC0-F3932E4BD6B4}" type="pres">
      <dgm:prSet presAssocID="{E336C01A-94DD-42D0-AA74-842AC62E7021}" presName="noGeometry" presStyleCnt="0"/>
      <dgm:spPr/>
    </dgm:pt>
    <dgm:pt modelId="{B52A8A8D-76C2-4B3E-BC71-7E117B3F8C5B}" type="pres">
      <dgm:prSet presAssocID="{E336C01A-94DD-42D0-AA74-842AC62E7021}" presName="childTextVisible" presStyleLbl="bgAccFollowNode1" presStyleIdx="2" presStyleCnt="3">
        <dgm:presLayoutVars>
          <dgm:bulletEnabled val="1"/>
        </dgm:presLayoutVars>
      </dgm:prSet>
      <dgm:spPr/>
    </dgm:pt>
    <dgm:pt modelId="{F8F360E3-5490-4DBA-8924-2735DBC04C4C}" type="pres">
      <dgm:prSet presAssocID="{E336C01A-94DD-42D0-AA74-842AC62E7021}" presName="childTextHidden" presStyleLbl="bgAccFollowNode1" presStyleIdx="2" presStyleCnt="3"/>
      <dgm:spPr/>
    </dgm:pt>
    <dgm:pt modelId="{F6D3CB06-F469-428F-9729-9E542320335A}" type="pres">
      <dgm:prSet presAssocID="{E336C01A-94DD-42D0-AA74-842AC62E7021}" presName="parentText" presStyleLbl="node1" presStyleIdx="2" presStyleCnt="3">
        <dgm:presLayoutVars>
          <dgm:chMax val="1"/>
          <dgm:bulletEnabled val="1"/>
        </dgm:presLayoutVars>
      </dgm:prSet>
      <dgm:spPr/>
    </dgm:pt>
  </dgm:ptLst>
  <dgm:cxnLst>
    <dgm:cxn modelId="{D6F8300D-A9D3-4570-83C8-38BFDF063465}" type="presOf" srcId="{D766AE46-A169-4D4E-A727-C19D3601D83B}" destId="{86F8807B-4EBB-4D8A-9E3D-04DF5FE7D5EE}" srcOrd="0" destOrd="0" presId="urn:microsoft.com/office/officeart/2005/8/layout/hProcess6"/>
    <dgm:cxn modelId="{5EC3C211-D4FF-4F33-9C28-7C4D8AC0F6B7}" srcId="{7BB16E97-F67E-4BC8-9A3E-B2CDAC709030}" destId="{ED9BFB25-E065-4A5E-9F65-BF279D29998F}" srcOrd="0" destOrd="0" parTransId="{DF5F49CB-1862-41A4-950C-D056173F718D}" sibTransId="{AAA9A0AD-D845-4DF8-A31B-3B3B60FD12E9}"/>
    <dgm:cxn modelId="{FFBEA23F-FD14-4997-869B-F1046C6E1604}" srcId="{8F5A1410-22D2-4DB4-A1C6-AF44D341D03D}" destId="{D766AE46-A169-4D4E-A727-C19D3601D83B}" srcOrd="0" destOrd="0" parTransId="{C2BA6046-F865-4A35-AF71-857D13B43244}" sibTransId="{36439891-2DA0-4F7B-841F-F7F6672A1ADF}"/>
    <dgm:cxn modelId="{F4A4845B-0CB1-4BBB-B167-2EF79C861701}" srcId="{7BB16E97-F67E-4BC8-9A3E-B2CDAC709030}" destId="{E336C01A-94DD-42D0-AA74-842AC62E7021}" srcOrd="2" destOrd="0" parTransId="{8BE3A96C-189E-4F98-8CE7-5FDB49C1C3CE}" sibTransId="{C2BB398F-2C3C-4E26-B951-27C55904F93C}"/>
    <dgm:cxn modelId="{2233E46D-E2DF-4550-81FE-E45C2595BCC0}" type="presOf" srcId="{48138AF8-8F38-4A7C-95F6-774777AFB8B8}" destId="{0322F4B5-F6D3-4293-94AB-6D78CD868107}" srcOrd="0" destOrd="0" presId="urn:microsoft.com/office/officeart/2005/8/layout/hProcess6"/>
    <dgm:cxn modelId="{815CC873-97B0-47BA-BA6E-408A72CD61A0}" type="presOf" srcId="{7BB16E97-F67E-4BC8-9A3E-B2CDAC709030}" destId="{95654F57-E7E3-4A5E-9CC0-0348E4EEB9A6}" srcOrd="0" destOrd="0" presId="urn:microsoft.com/office/officeart/2005/8/layout/hProcess6"/>
    <dgm:cxn modelId="{5A8F1587-AFA9-4CBF-A668-ADDBFD0E7793}" type="presOf" srcId="{D766AE46-A169-4D4E-A727-C19D3601D83B}" destId="{14839606-405B-4976-B785-BADD63A4F64E}" srcOrd="1" destOrd="0" presId="urn:microsoft.com/office/officeart/2005/8/layout/hProcess6"/>
    <dgm:cxn modelId="{9DAB2C8A-58CE-4675-9A3A-E051A4D29BA9}" type="presOf" srcId="{E336C01A-94DD-42D0-AA74-842AC62E7021}" destId="{F6D3CB06-F469-428F-9729-9E542320335A}" srcOrd="0" destOrd="0" presId="urn:microsoft.com/office/officeart/2005/8/layout/hProcess6"/>
    <dgm:cxn modelId="{EDC7D299-9BE0-4512-AD15-9B3605F4479A}" type="presOf" srcId="{ED9BFB25-E065-4A5E-9F65-BF279D29998F}" destId="{DDC93AED-B617-4431-A531-E3A229551E76}" srcOrd="0" destOrd="0" presId="urn:microsoft.com/office/officeart/2005/8/layout/hProcess6"/>
    <dgm:cxn modelId="{66170C9B-16E7-4E3F-8CE3-B6A96850622B}" type="presOf" srcId="{FBBBFAA6-90C9-4D08-B5F2-B9E107E50728}" destId="{B52A8A8D-76C2-4B3E-BC71-7E117B3F8C5B}" srcOrd="0" destOrd="0" presId="urn:microsoft.com/office/officeart/2005/8/layout/hProcess6"/>
    <dgm:cxn modelId="{54AE04AB-0567-4C62-A54F-A7A5C4B36E4B}" srcId="{7BB16E97-F67E-4BC8-9A3E-B2CDAC709030}" destId="{8F5A1410-22D2-4DB4-A1C6-AF44D341D03D}" srcOrd="1" destOrd="0" parTransId="{CE5C9B17-0C30-4FA6-8620-3D77B1D31A30}" sibTransId="{95CB4990-3F7E-4ED5-987B-1D902D885ADC}"/>
    <dgm:cxn modelId="{663211DA-ADD2-4C1E-8202-77D31E15986F}" type="presOf" srcId="{8F5A1410-22D2-4DB4-A1C6-AF44D341D03D}" destId="{CBA45D3C-0139-4CA4-B054-950334164CF2}" srcOrd="0" destOrd="0" presId="urn:microsoft.com/office/officeart/2005/8/layout/hProcess6"/>
    <dgm:cxn modelId="{071B02EB-6E70-498D-94FF-B77D89850C88}" type="presOf" srcId="{FBBBFAA6-90C9-4D08-B5F2-B9E107E50728}" destId="{F8F360E3-5490-4DBA-8924-2735DBC04C4C}" srcOrd="1" destOrd="0" presId="urn:microsoft.com/office/officeart/2005/8/layout/hProcess6"/>
    <dgm:cxn modelId="{BD1B6FEF-E19B-4CC6-9FB7-065FE4F683DB}" type="presOf" srcId="{48138AF8-8F38-4A7C-95F6-774777AFB8B8}" destId="{E6112F12-661A-4DF3-A5E6-AD088C5C15B5}" srcOrd="1" destOrd="0" presId="urn:microsoft.com/office/officeart/2005/8/layout/hProcess6"/>
    <dgm:cxn modelId="{CBEC1CF9-01F9-4FD7-A3AC-37DF34D93E19}" srcId="{E336C01A-94DD-42D0-AA74-842AC62E7021}" destId="{FBBBFAA6-90C9-4D08-B5F2-B9E107E50728}" srcOrd="0" destOrd="0" parTransId="{51984BD6-5E2E-487B-98C3-A8C4BDA21985}" sibTransId="{D06FCF24-9A97-425A-A8CA-0F16ECCDC541}"/>
    <dgm:cxn modelId="{219983FD-93AA-47E5-9C70-A4DBF392619F}" srcId="{ED9BFB25-E065-4A5E-9F65-BF279D29998F}" destId="{48138AF8-8F38-4A7C-95F6-774777AFB8B8}" srcOrd="0" destOrd="0" parTransId="{29572612-D183-406B-BBD2-9953A420BC48}" sibTransId="{BA541D24-C1B8-40D7-BF95-3238AC5460FF}"/>
    <dgm:cxn modelId="{65712051-6F03-49F6-AF2E-3653997C6B47}" type="presParOf" srcId="{95654F57-E7E3-4A5E-9CC0-0348E4EEB9A6}" destId="{AD99B5A1-3C18-47AA-9EC4-27655FAC2B9C}" srcOrd="0" destOrd="0" presId="urn:microsoft.com/office/officeart/2005/8/layout/hProcess6"/>
    <dgm:cxn modelId="{F3DF06EC-55FD-472A-85BF-046469E6C55A}" type="presParOf" srcId="{AD99B5A1-3C18-47AA-9EC4-27655FAC2B9C}" destId="{DF23A112-393C-4684-AB4F-513C2641F53C}" srcOrd="0" destOrd="0" presId="urn:microsoft.com/office/officeart/2005/8/layout/hProcess6"/>
    <dgm:cxn modelId="{0935918F-DB16-4AF7-8CD2-06EE8AA80500}" type="presParOf" srcId="{AD99B5A1-3C18-47AA-9EC4-27655FAC2B9C}" destId="{0322F4B5-F6D3-4293-94AB-6D78CD868107}" srcOrd="1" destOrd="0" presId="urn:microsoft.com/office/officeart/2005/8/layout/hProcess6"/>
    <dgm:cxn modelId="{F6A920E5-8274-42B1-B7B3-37139E7669FE}" type="presParOf" srcId="{AD99B5A1-3C18-47AA-9EC4-27655FAC2B9C}" destId="{E6112F12-661A-4DF3-A5E6-AD088C5C15B5}" srcOrd="2" destOrd="0" presId="urn:microsoft.com/office/officeart/2005/8/layout/hProcess6"/>
    <dgm:cxn modelId="{258F7F6B-F32F-4E94-A22E-64EF9E3EDEAD}" type="presParOf" srcId="{AD99B5A1-3C18-47AA-9EC4-27655FAC2B9C}" destId="{DDC93AED-B617-4431-A531-E3A229551E76}" srcOrd="3" destOrd="0" presId="urn:microsoft.com/office/officeart/2005/8/layout/hProcess6"/>
    <dgm:cxn modelId="{74FD8A1D-9A61-46E1-ACFF-EA530A2F599D}" type="presParOf" srcId="{95654F57-E7E3-4A5E-9CC0-0348E4EEB9A6}" destId="{3EA05263-245B-438B-A5E4-99B5FDC9F738}" srcOrd="1" destOrd="0" presId="urn:microsoft.com/office/officeart/2005/8/layout/hProcess6"/>
    <dgm:cxn modelId="{E55D4412-1B0B-4237-B7F7-943C3D24D390}" type="presParOf" srcId="{95654F57-E7E3-4A5E-9CC0-0348E4EEB9A6}" destId="{87E7715D-F6A9-490D-804A-08CBB923B412}" srcOrd="2" destOrd="0" presId="urn:microsoft.com/office/officeart/2005/8/layout/hProcess6"/>
    <dgm:cxn modelId="{676496DE-5D44-4FA8-BFD6-206D72CCA184}" type="presParOf" srcId="{87E7715D-F6A9-490D-804A-08CBB923B412}" destId="{5E5A0ED5-B144-41D7-9FFB-0FC0822BEF08}" srcOrd="0" destOrd="0" presId="urn:microsoft.com/office/officeart/2005/8/layout/hProcess6"/>
    <dgm:cxn modelId="{32DDEA4F-9ACB-4C7F-8E50-55A7A3E7E01F}" type="presParOf" srcId="{87E7715D-F6A9-490D-804A-08CBB923B412}" destId="{86F8807B-4EBB-4D8A-9E3D-04DF5FE7D5EE}" srcOrd="1" destOrd="0" presId="urn:microsoft.com/office/officeart/2005/8/layout/hProcess6"/>
    <dgm:cxn modelId="{C9D2928A-D7BB-4B0B-B579-87EC6EC9AB93}" type="presParOf" srcId="{87E7715D-F6A9-490D-804A-08CBB923B412}" destId="{14839606-405B-4976-B785-BADD63A4F64E}" srcOrd="2" destOrd="0" presId="urn:microsoft.com/office/officeart/2005/8/layout/hProcess6"/>
    <dgm:cxn modelId="{DFEAC1FE-7F87-4F95-9EBD-795C3AA69F20}" type="presParOf" srcId="{87E7715D-F6A9-490D-804A-08CBB923B412}" destId="{CBA45D3C-0139-4CA4-B054-950334164CF2}" srcOrd="3" destOrd="0" presId="urn:microsoft.com/office/officeart/2005/8/layout/hProcess6"/>
    <dgm:cxn modelId="{11D16507-EE8A-4E91-8F2D-8EA2481BBA83}" type="presParOf" srcId="{95654F57-E7E3-4A5E-9CC0-0348E4EEB9A6}" destId="{EEF9DB4A-62A7-4575-95D1-1F8EB8DBDC8B}" srcOrd="3" destOrd="0" presId="urn:microsoft.com/office/officeart/2005/8/layout/hProcess6"/>
    <dgm:cxn modelId="{217F2208-AE08-4F03-9398-A4F381A37B5F}" type="presParOf" srcId="{95654F57-E7E3-4A5E-9CC0-0348E4EEB9A6}" destId="{3061E19E-62B8-40AA-806E-347792E3EFC4}" srcOrd="4" destOrd="0" presId="urn:microsoft.com/office/officeart/2005/8/layout/hProcess6"/>
    <dgm:cxn modelId="{8440238D-9445-4A17-94C7-FF93B9E8A2B1}" type="presParOf" srcId="{3061E19E-62B8-40AA-806E-347792E3EFC4}" destId="{BEFF451E-4CCF-4C8F-BDC0-F3932E4BD6B4}" srcOrd="0" destOrd="0" presId="urn:microsoft.com/office/officeart/2005/8/layout/hProcess6"/>
    <dgm:cxn modelId="{57AE51FD-9F14-48CE-91D2-0E56D56F48D1}" type="presParOf" srcId="{3061E19E-62B8-40AA-806E-347792E3EFC4}" destId="{B52A8A8D-76C2-4B3E-BC71-7E117B3F8C5B}" srcOrd="1" destOrd="0" presId="urn:microsoft.com/office/officeart/2005/8/layout/hProcess6"/>
    <dgm:cxn modelId="{CCF9A6C1-329C-4189-B359-87BED5D5382C}" type="presParOf" srcId="{3061E19E-62B8-40AA-806E-347792E3EFC4}" destId="{F8F360E3-5490-4DBA-8924-2735DBC04C4C}" srcOrd="2" destOrd="0" presId="urn:microsoft.com/office/officeart/2005/8/layout/hProcess6"/>
    <dgm:cxn modelId="{A4AA6169-162F-4A22-9A27-98B825AFFCD6}" type="presParOf" srcId="{3061E19E-62B8-40AA-806E-347792E3EFC4}" destId="{F6D3CB06-F469-428F-9729-9E542320335A}" srcOrd="3" destOrd="0" presId="urn:microsoft.com/office/officeart/2005/8/layout/hProcess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22C1581-A82B-47C2-99C6-C6265319E349}"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CB85203A-467E-4AAB-B5FE-21AFA1475395}">
      <dgm:prSet custT="1"/>
      <dgm:spPr/>
      <dgm:t>
        <a:bodyPr/>
        <a:lstStyle/>
        <a:p>
          <a:pPr>
            <a:lnSpc>
              <a:spcPct val="100000"/>
            </a:lnSpc>
          </a:pPr>
          <a:r>
            <a:rPr lang="nl-NL" sz="1600" dirty="0" err="1"/>
            <a:t>Mean</a:t>
          </a:r>
          <a:r>
            <a:rPr lang="nl-NL" sz="1600" dirty="0"/>
            <a:t> scores of Total Family </a:t>
          </a:r>
          <a:r>
            <a:rPr lang="nl-NL" sz="1600" dirty="0" err="1"/>
            <a:t>Burden</a:t>
          </a:r>
          <a:r>
            <a:rPr lang="nl-NL" sz="1600" dirty="0"/>
            <a:t> </a:t>
          </a:r>
          <a:r>
            <a:rPr lang="nl-NL" sz="1600" dirty="0" err="1"/>
            <a:t>decreased</a:t>
          </a:r>
          <a:r>
            <a:rPr lang="nl-NL" sz="1600" dirty="0"/>
            <a:t> </a:t>
          </a:r>
          <a:r>
            <a:rPr lang="nl-NL" sz="1600" dirty="0" err="1"/>
            <a:t>by</a:t>
          </a:r>
          <a:r>
            <a:rPr lang="nl-NL" sz="1600" dirty="0"/>
            <a:t> </a:t>
          </a:r>
          <a:r>
            <a:rPr lang="nl-NL" sz="1600" dirty="0" err="1"/>
            <a:t>around</a:t>
          </a:r>
          <a:r>
            <a:rPr lang="nl-NL" sz="1600" dirty="0"/>
            <a:t> </a:t>
          </a:r>
          <a:r>
            <a:rPr lang="nl-NL" sz="1600" b="1" dirty="0"/>
            <a:t>20%</a:t>
          </a:r>
          <a:endParaRPr lang="en-US" sz="1600" dirty="0"/>
        </a:p>
      </dgm:t>
    </dgm:pt>
    <dgm:pt modelId="{FD4F6330-CB2B-47B2-99D9-F6B9C2BC96D7}" type="parTrans" cxnId="{9FDB1020-7A88-4930-BA5D-9AE6F86E433E}">
      <dgm:prSet/>
      <dgm:spPr/>
      <dgm:t>
        <a:bodyPr/>
        <a:lstStyle/>
        <a:p>
          <a:endParaRPr lang="en-US"/>
        </a:p>
      </dgm:t>
    </dgm:pt>
    <dgm:pt modelId="{1E3B2C4E-D071-40BE-B66B-6DA46D1E96EB}" type="sibTrans" cxnId="{9FDB1020-7A88-4930-BA5D-9AE6F86E433E}">
      <dgm:prSet phldrT="1"/>
      <dgm:spPr/>
      <dgm:t>
        <a:bodyPr/>
        <a:lstStyle/>
        <a:p>
          <a:endParaRPr lang="en-US"/>
        </a:p>
      </dgm:t>
    </dgm:pt>
    <dgm:pt modelId="{D99DC79D-EF33-410A-AA27-4204DAA03489}">
      <dgm:prSet custT="1"/>
      <dgm:spPr/>
      <dgm:t>
        <a:bodyPr/>
        <a:lstStyle/>
        <a:p>
          <a:pPr>
            <a:lnSpc>
              <a:spcPct val="100000"/>
            </a:lnSpc>
          </a:pPr>
          <a:r>
            <a:rPr lang="nl-NL" sz="1600" dirty="0" err="1"/>
            <a:t>Mean</a:t>
          </a:r>
          <a:r>
            <a:rPr lang="nl-NL" sz="1600" dirty="0"/>
            <a:t> scores of Total Family </a:t>
          </a:r>
          <a:r>
            <a:rPr lang="nl-NL" sz="1600" dirty="0" err="1"/>
            <a:t>Burden</a:t>
          </a:r>
          <a:r>
            <a:rPr lang="nl-NL" sz="1600" dirty="0"/>
            <a:t> </a:t>
          </a:r>
          <a:r>
            <a:rPr lang="nl-NL" sz="1600" dirty="0" err="1"/>
            <a:t>decreased</a:t>
          </a:r>
          <a:r>
            <a:rPr lang="nl-NL" sz="1600" dirty="0"/>
            <a:t> AGAIN </a:t>
          </a:r>
          <a:r>
            <a:rPr lang="nl-NL" sz="1600" dirty="0" err="1"/>
            <a:t>by</a:t>
          </a:r>
          <a:r>
            <a:rPr lang="nl-NL" sz="1600" dirty="0"/>
            <a:t> </a:t>
          </a:r>
          <a:r>
            <a:rPr lang="nl-NL" sz="1600" dirty="0" err="1"/>
            <a:t>around</a:t>
          </a:r>
          <a:r>
            <a:rPr lang="nl-NL" sz="1600" dirty="0"/>
            <a:t> </a:t>
          </a:r>
          <a:r>
            <a:rPr lang="nl-NL" sz="1600" b="1" dirty="0"/>
            <a:t>20% </a:t>
          </a:r>
          <a:r>
            <a:rPr lang="nl-NL" sz="1600" dirty="0"/>
            <a:t>at 3-month follow-up</a:t>
          </a:r>
          <a:endParaRPr lang="en-US" sz="1600" dirty="0"/>
        </a:p>
      </dgm:t>
    </dgm:pt>
    <dgm:pt modelId="{1A27E2B2-732B-4718-B9C5-9A0B71635D35}" type="parTrans" cxnId="{FB3F739F-0079-46B5-8F01-C6E2253BD1F3}">
      <dgm:prSet/>
      <dgm:spPr/>
      <dgm:t>
        <a:bodyPr/>
        <a:lstStyle/>
        <a:p>
          <a:endParaRPr lang="en-US"/>
        </a:p>
      </dgm:t>
    </dgm:pt>
    <dgm:pt modelId="{0541697E-13B8-40D4-9392-EB5E156D8BB3}" type="sibTrans" cxnId="{FB3F739F-0079-46B5-8F01-C6E2253BD1F3}">
      <dgm:prSet phldrT="2"/>
      <dgm:spPr/>
      <dgm:t>
        <a:bodyPr/>
        <a:lstStyle/>
        <a:p>
          <a:endParaRPr lang="en-US"/>
        </a:p>
      </dgm:t>
    </dgm:pt>
    <dgm:pt modelId="{2DD9A909-B8D2-4F03-ABDD-D0C847AD726B}">
      <dgm:prSet custT="1"/>
      <dgm:spPr/>
      <dgm:t>
        <a:bodyPr/>
        <a:lstStyle/>
        <a:p>
          <a:pPr>
            <a:lnSpc>
              <a:spcPct val="100000"/>
            </a:lnSpc>
          </a:pPr>
          <a:r>
            <a:rPr lang="en-US" sz="1600" dirty="0"/>
            <a:t>Participants following the intervention online performed </a:t>
          </a:r>
          <a:r>
            <a:rPr lang="en-US" sz="1600" b="1" dirty="0"/>
            <a:t>equally well or better</a:t>
          </a:r>
        </a:p>
      </dgm:t>
    </dgm:pt>
    <dgm:pt modelId="{BF04CD6C-A51C-40AD-BC0A-09C8EA702A59}" type="parTrans" cxnId="{85D8E36E-108A-4E40-A53C-C61E7E2EE90D}">
      <dgm:prSet/>
      <dgm:spPr/>
      <dgm:t>
        <a:bodyPr/>
        <a:lstStyle/>
        <a:p>
          <a:endParaRPr lang="en-US"/>
        </a:p>
      </dgm:t>
    </dgm:pt>
    <dgm:pt modelId="{523709AF-9FB6-4D88-B316-34AA8451FAC5}" type="sibTrans" cxnId="{85D8E36E-108A-4E40-A53C-C61E7E2EE90D}">
      <dgm:prSet phldrT="3"/>
      <dgm:spPr/>
      <dgm:t>
        <a:bodyPr/>
        <a:lstStyle/>
        <a:p>
          <a:endParaRPr lang="en-US"/>
        </a:p>
      </dgm:t>
    </dgm:pt>
    <dgm:pt modelId="{00DD7A99-450F-4CC6-ABF7-DC9CC7A62E93}" type="pres">
      <dgm:prSet presAssocID="{A22C1581-A82B-47C2-99C6-C6265319E349}" presName="root" presStyleCnt="0">
        <dgm:presLayoutVars>
          <dgm:dir/>
          <dgm:resizeHandles val="exact"/>
        </dgm:presLayoutVars>
      </dgm:prSet>
      <dgm:spPr/>
    </dgm:pt>
    <dgm:pt modelId="{FBDB5A26-1726-4080-92B9-6698E112571C}" type="pres">
      <dgm:prSet presAssocID="{CB85203A-467E-4AAB-B5FE-21AFA1475395}" presName="compNode" presStyleCnt="0"/>
      <dgm:spPr/>
    </dgm:pt>
    <dgm:pt modelId="{43F80666-E1A0-496D-90B5-A3A857538295}" type="pres">
      <dgm:prSet presAssocID="{CB85203A-467E-4AAB-B5FE-21AFA1475395}" presName="bgRect" presStyleLbl="bgShp" presStyleIdx="0" presStyleCnt="3" custLinFactNeighborY="-43"/>
      <dgm:spPr/>
    </dgm:pt>
    <dgm:pt modelId="{738C9655-42C9-4996-BB59-E61BA864E58E}" type="pres">
      <dgm:prSet presAssocID="{CB85203A-467E-4AAB-B5FE-21AFA1475395}"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ar Graph with Downward Trend"/>
        </a:ext>
      </dgm:extLst>
    </dgm:pt>
    <dgm:pt modelId="{D2449EC4-60F3-42C7-A4ED-B62C3DE7726E}" type="pres">
      <dgm:prSet presAssocID="{CB85203A-467E-4AAB-B5FE-21AFA1475395}" presName="spaceRect" presStyleCnt="0"/>
      <dgm:spPr/>
    </dgm:pt>
    <dgm:pt modelId="{85426D68-EDDB-4412-BCD8-D2C7011236C3}" type="pres">
      <dgm:prSet presAssocID="{CB85203A-467E-4AAB-B5FE-21AFA1475395}" presName="parTx" presStyleLbl="revTx" presStyleIdx="0" presStyleCnt="3">
        <dgm:presLayoutVars>
          <dgm:chMax val="0"/>
          <dgm:chPref val="0"/>
        </dgm:presLayoutVars>
      </dgm:prSet>
      <dgm:spPr/>
    </dgm:pt>
    <dgm:pt modelId="{5E50E2F2-0923-44C0-BC3A-CEB3CFFA2F19}" type="pres">
      <dgm:prSet presAssocID="{1E3B2C4E-D071-40BE-B66B-6DA46D1E96EB}" presName="sibTrans" presStyleCnt="0"/>
      <dgm:spPr/>
    </dgm:pt>
    <dgm:pt modelId="{EDF6840D-A1F9-4C86-9DA2-3059E940F5A8}" type="pres">
      <dgm:prSet presAssocID="{D99DC79D-EF33-410A-AA27-4204DAA03489}" presName="compNode" presStyleCnt="0"/>
      <dgm:spPr/>
    </dgm:pt>
    <dgm:pt modelId="{0658925C-5297-459C-A1E5-EDD4369CB02A}" type="pres">
      <dgm:prSet presAssocID="{D99DC79D-EF33-410A-AA27-4204DAA03489}" presName="bgRect" presStyleLbl="bgShp" presStyleIdx="1" presStyleCnt="3"/>
      <dgm:spPr/>
    </dgm:pt>
    <dgm:pt modelId="{B6B0B06F-95F1-4ABC-9157-1F6739E0CEAE}" type="pres">
      <dgm:prSet presAssocID="{D99DC79D-EF33-410A-AA27-4204DAA03489}" presName="iconRect" presStyleLbl="node1" presStyleIdx="1" presStyleCnt="3"/>
      <dgm:spPr>
        <a:blipFill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pt>
    <dgm:pt modelId="{0A9C28E1-52BC-428F-A61A-558788110B20}" type="pres">
      <dgm:prSet presAssocID="{D99DC79D-EF33-410A-AA27-4204DAA03489}" presName="spaceRect" presStyleCnt="0"/>
      <dgm:spPr/>
    </dgm:pt>
    <dgm:pt modelId="{E7089723-2E17-45FA-A4B4-681098528A4E}" type="pres">
      <dgm:prSet presAssocID="{D99DC79D-EF33-410A-AA27-4204DAA03489}" presName="parTx" presStyleLbl="revTx" presStyleIdx="1" presStyleCnt="3">
        <dgm:presLayoutVars>
          <dgm:chMax val="0"/>
          <dgm:chPref val="0"/>
        </dgm:presLayoutVars>
      </dgm:prSet>
      <dgm:spPr/>
    </dgm:pt>
    <dgm:pt modelId="{3AC4E4FA-CA05-4F36-8E66-6C060E6B76AF}" type="pres">
      <dgm:prSet presAssocID="{0541697E-13B8-40D4-9392-EB5E156D8BB3}" presName="sibTrans" presStyleCnt="0"/>
      <dgm:spPr/>
    </dgm:pt>
    <dgm:pt modelId="{9F60D019-8E58-4256-BBB5-A8FDE3C63E7B}" type="pres">
      <dgm:prSet presAssocID="{2DD9A909-B8D2-4F03-ABDD-D0C847AD726B}" presName="compNode" presStyleCnt="0"/>
      <dgm:spPr/>
    </dgm:pt>
    <dgm:pt modelId="{FF17A8C6-BA18-4241-95B5-7FE509600E46}" type="pres">
      <dgm:prSet presAssocID="{2DD9A909-B8D2-4F03-ABDD-D0C847AD726B}" presName="bgRect" presStyleLbl="bgShp" presStyleIdx="2" presStyleCnt="3"/>
      <dgm:spPr/>
    </dgm:pt>
    <dgm:pt modelId="{FAEFC241-C66E-44AB-BA6A-94F41CBC5203}" type="pres">
      <dgm:prSet presAssocID="{2DD9A909-B8D2-4F03-ABDD-D0C847AD726B}" presName="iconRect" presStyleLbl="node1" presStyleIdx="2"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Gebruikers"/>
        </a:ext>
      </dgm:extLst>
    </dgm:pt>
    <dgm:pt modelId="{C46C2125-57CC-4989-9DF2-3F2CBE8C72D8}" type="pres">
      <dgm:prSet presAssocID="{2DD9A909-B8D2-4F03-ABDD-D0C847AD726B}" presName="spaceRect" presStyleCnt="0"/>
      <dgm:spPr/>
    </dgm:pt>
    <dgm:pt modelId="{79E351B9-3AC7-4C36-AFA5-9FEA993903BE}" type="pres">
      <dgm:prSet presAssocID="{2DD9A909-B8D2-4F03-ABDD-D0C847AD726B}" presName="parTx" presStyleLbl="revTx" presStyleIdx="2" presStyleCnt="3">
        <dgm:presLayoutVars>
          <dgm:chMax val="0"/>
          <dgm:chPref val="0"/>
        </dgm:presLayoutVars>
      </dgm:prSet>
      <dgm:spPr/>
    </dgm:pt>
  </dgm:ptLst>
  <dgm:cxnLst>
    <dgm:cxn modelId="{9FDB1020-7A88-4930-BA5D-9AE6F86E433E}" srcId="{A22C1581-A82B-47C2-99C6-C6265319E349}" destId="{CB85203A-467E-4AAB-B5FE-21AFA1475395}" srcOrd="0" destOrd="0" parTransId="{FD4F6330-CB2B-47B2-99D9-F6B9C2BC96D7}" sibTransId="{1E3B2C4E-D071-40BE-B66B-6DA46D1E96EB}"/>
    <dgm:cxn modelId="{8610A960-30E2-4321-93E0-57EC2364401D}" type="presOf" srcId="{A22C1581-A82B-47C2-99C6-C6265319E349}" destId="{00DD7A99-450F-4CC6-ABF7-DC9CC7A62E93}" srcOrd="0" destOrd="0" presId="urn:microsoft.com/office/officeart/2018/2/layout/IconVerticalSolidList"/>
    <dgm:cxn modelId="{2B650947-975E-475C-A0A7-494D8DD77602}" type="presOf" srcId="{D99DC79D-EF33-410A-AA27-4204DAA03489}" destId="{E7089723-2E17-45FA-A4B4-681098528A4E}" srcOrd="0" destOrd="0" presId="urn:microsoft.com/office/officeart/2018/2/layout/IconVerticalSolidList"/>
    <dgm:cxn modelId="{85D8E36E-108A-4E40-A53C-C61E7E2EE90D}" srcId="{A22C1581-A82B-47C2-99C6-C6265319E349}" destId="{2DD9A909-B8D2-4F03-ABDD-D0C847AD726B}" srcOrd="2" destOrd="0" parTransId="{BF04CD6C-A51C-40AD-BC0A-09C8EA702A59}" sibTransId="{523709AF-9FB6-4D88-B316-34AA8451FAC5}"/>
    <dgm:cxn modelId="{C940EC78-64E8-4FD7-A9D5-6E0B51F3D6BE}" type="presOf" srcId="{CB85203A-467E-4AAB-B5FE-21AFA1475395}" destId="{85426D68-EDDB-4412-BCD8-D2C7011236C3}" srcOrd="0" destOrd="0" presId="urn:microsoft.com/office/officeart/2018/2/layout/IconVerticalSolidList"/>
    <dgm:cxn modelId="{FB3F739F-0079-46B5-8F01-C6E2253BD1F3}" srcId="{A22C1581-A82B-47C2-99C6-C6265319E349}" destId="{D99DC79D-EF33-410A-AA27-4204DAA03489}" srcOrd="1" destOrd="0" parTransId="{1A27E2B2-732B-4718-B9C5-9A0B71635D35}" sibTransId="{0541697E-13B8-40D4-9392-EB5E156D8BB3}"/>
    <dgm:cxn modelId="{44236FFD-824F-4518-BC71-998AF75F6C63}" type="presOf" srcId="{2DD9A909-B8D2-4F03-ABDD-D0C847AD726B}" destId="{79E351B9-3AC7-4C36-AFA5-9FEA993903BE}" srcOrd="0" destOrd="0" presId="urn:microsoft.com/office/officeart/2018/2/layout/IconVerticalSolidList"/>
    <dgm:cxn modelId="{0160E253-4C18-4097-8EE4-45FE4D3DD4D0}" type="presParOf" srcId="{00DD7A99-450F-4CC6-ABF7-DC9CC7A62E93}" destId="{FBDB5A26-1726-4080-92B9-6698E112571C}" srcOrd="0" destOrd="0" presId="urn:microsoft.com/office/officeart/2018/2/layout/IconVerticalSolidList"/>
    <dgm:cxn modelId="{546ABC29-4F5B-4285-9D1D-81C828DA4C1D}" type="presParOf" srcId="{FBDB5A26-1726-4080-92B9-6698E112571C}" destId="{43F80666-E1A0-496D-90B5-A3A857538295}" srcOrd="0" destOrd="0" presId="urn:microsoft.com/office/officeart/2018/2/layout/IconVerticalSolidList"/>
    <dgm:cxn modelId="{C904F1C3-5BA4-462B-9AB2-B093FCCAC983}" type="presParOf" srcId="{FBDB5A26-1726-4080-92B9-6698E112571C}" destId="{738C9655-42C9-4996-BB59-E61BA864E58E}" srcOrd="1" destOrd="0" presId="urn:microsoft.com/office/officeart/2018/2/layout/IconVerticalSolidList"/>
    <dgm:cxn modelId="{6E313E2E-216B-4EE7-8C26-FA4A741F4E0F}" type="presParOf" srcId="{FBDB5A26-1726-4080-92B9-6698E112571C}" destId="{D2449EC4-60F3-42C7-A4ED-B62C3DE7726E}" srcOrd="2" destOrd="0" presId="urn:microsoft.com/office/officeart/2018/2/layout/IconVerticalSolidList"/>
    <dgm:cxn modelId="{887AE95D-3B3C-4DEA-B95F-1127FC289CEA}" type="presParOf" srcId="{FBDB5A26-1726-4080-92B9-6698E112571C}" destId="{85426D68-EDDB-4412-BCD8-D2C7011236C3}" srcOrd="3" destOrd="0" presId="urn:microsoft.com/office/officeart/2018/2/layout/IconVerticalSolidList"/>
    <dgm:cxn modelId="{CA0C392B-1E4B-4345-BD9C-48C5846BF551}" type="presParOf" srcId="{00DD7A99-450F-4CC6-ABF7-DC9CC7A62E93}" destId="{5E50E2F2-0923-44C0-BC3A-CEB3CFFA2F19}" srcOrd="1" destOrd="0" presId="urn:microsoft.com/office/officeart/2018/2/layout/IconVerticalSolidList"/>
    <dgm:cxn modelId="{93722C74-9FCE-4FAE-99C3-E0288A3F9D3F}" type="presParOf" srcId="{00DD7A99-450F-4CC6-ABF7-DC9CC7A62E93}" destId="{EDF6840D-A1F9-4C86-9DA2-3059E940F5A8}" srcOrd="2" destOrd="0" presId="urn:microsoft.com/office/officeart/2018/2/layout/IconVerticalSolidList"/>
    <dgm:cxn modelId="{282ED98C-14DE-4ADB-8B1C-B8C9389D548A}" type="presParOf" srcId="{EDF6840D-A1F9-4C86-9DA2-3059E940F5A8}" destId="{0658925C-5297-459C-A1E5-EDD4369CB02A}" srcOrd="0" destOrd="0" presId="urn:microsoft.com/office/officeart/2018/2/layout/IconVerticalSolidList"/>
    <dgm:cxn modelId="{55273FFC-9153-4124-B97B-A2AAEFC1C771}" type="presParOf" srcId="{EDF6840D-A1F9-4C86-9DA2-3059E940F5A8}" destId="{B6B0B06F-95F1-4ABC-9157-1F6739E0CEAE}" srcOrd="1" destOrd="0" presId="urn:microsoft.com/office/officeart/2018/2/layout/IconVerticalSolidList"/>
    <dgm:cxn modelId="{E3B95B9B-281D-48D5-88B8-F126EE5F52BB}" type="presParOf" srcId="{EDF6840D-A1F9-4C86-9DA2-3059E940F5A8}" destId="{0A9C28E1-52BC-428F-A61A-558788110B20}" srcOrd="2" destOrd="0" presId="urn:microsoft.com/office/officeart/2018/2/layout/IconVerticalSolidList"/>
    <dgm:cxn modelId="{A17BEFB7-91C7-4D30-9E6E-351F4DE956D7}" type="presParOf" srcId="{EDF6840D-A1F9-4C86-9DA2-3059E940F5A8}" destId="{E7089723-2E17-45FA-A4B4-681098528A4E}" srcOrd="3" destOrd="0" presId="urn:microsoft.com/office/officeart/2018/2/layout/IconVerticalSolidList"/>
    <dgm:cxn modelId="{F66DA440-C698-4324-B28B-F88C1FAF390D}" type="presParOf" srcId="{00DD7A99-450F-4CC6-ABF7-DC9CC7A62E93}" destId="{3AC4E4FA-CA05-4F36-8E66-6C060E6B76AF}" srcOrd="3" destOrd="0" presId="urn:microsoft.com/office/officeart/2018/2/layout/IconVerticalSolidList"/>
    <dgm:cxn modelId="{12D9DC61-D6D0-401F-84A5-27A0678DDC4B}" type="presParOf" srcId="{00DD7A99-450F-4CC6-ABF7-DC9CC7A62E93}" destId="{9F60D019-8E58-4256-BBB5-A8FDE3C63E7B}" srcOrd="4" destOrd="0" presId="urn:microsoft.com/office/officeart/2018/2/layout/IconVerticalSolidList"/>
    <dgm:cxn modelId="{AC90227C-1E43-450F-BEFA-554002BA1D53}" type="presParOf" srcId="{9F60D019-8E58-4256-BBB5-A8FDE3C63E7B}" destId="{FF17A8C6-BA18-4241-95B5-7FE509600E46}" srcOrd="0" destOrd="0" presId="urn:microsoft.com/office/officeart/2018/2/layout/IconVerticalSolidList"/>
    <dgm:cxn modelId="{00F834C6-6B0C-4343-B9A6-77BBD5885570}" type="presParOf" srcId="{9F60D019-8E58-4256-BBB5-A8FDE3C63E7B}" destId="{FAEFC241-C66E-44AB-BA6A-94F41CBC5203}" srcOrd="1" destOrd="0" presId="urn:microsoft.com/office/officeart/2018/2/layout/IconVerticalSolidList"/>
    <dgm:cxn modelId="{1ECF1A8D-4154-4EF9-B5A3-DFDE6CF6AA92}" type="presParOf" srcId="{9F60D019-8E58-4256-BBB5-A8FDE3C63E7B}" destId="{C46C2125-57CC-4989-9DF2-3F2CBE8C72D8}" srcOrd="2" destOrd="0" presId="urn:microsoft.com/office/officeart/2018/2/layout/IconVerticalSolidList"/>
    <dgm:cxn modelId="{9ECD2F16-7110-4D5D-B0F6-E8681EFC711F}" type="presParOf" srcId="{9F60D019-8E58-4256-BBB5-A8FDE3C63E7B}" destId="{79E351B9-3AC7-4C36-AFA5-9FEA993903BE}"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22F4B5-F6D3-4293-94AB-6D78CD868107}">
      <dsp:nvSpPr>
        <dsp:cNvPr id="0" name=""/>
        <dsp:cNvSpPr/>
      </dsp:nvSpPr>
      <dsp:spPr>
        <a:xfrm>
          <a:off x="513992" y="1752327"/>
          <a:ext cx="2095500" cy="1831730"/>
        </a:xfrm>
        <a:prstGeom prst="rightArrow">
          <a:avLst>
            <a:gd name="adj1" fmla="val 70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11430" rIns="22860" bIns="11430" numCol="1" spcCol="1270" anchor="ctr" anchorCtr="0">
          <a:noAutofit/>
        </a:bodyPr>
        <a:lstStyle/>
        <a:p>
          <a:pPr marL="0" lvl="0" indent="0" algn="ctr" defTabSz="800100">
            <a:lnSpc>
              <a:spcPct val="90000"/>
            </a:lnSpc>
            <a:spcBef>
              <a:spcPct val="0"/>
            </a:spcBef>
            <a:spcAft>
              <a:spcPct val="35000"/>
            </a:spcAft>
            <a:buNone/>
          </a:pPr>
          <a:r>
            <a:rPr lang="nl-NL" sz="1800" i="1" kern="1200" dirty="0"/>
            <a:t>N</a:t>
          </a:r>
          <a:r>
            <a:rPr lang="nl-NL" sz="1800" kern="1200" dirty="0"/>
            <a:t> = 145</a:t>
          </a:r>
        </a:p>
      </dsp:txBody>
      <dsp:txXfrm>
        <a:off x="1037867" y="2027087"/>
        <a:ext cx="1021556" cy="1282211"/>
      </dsp:txXfrm>
    </dsp:sp>
    <dsp:sp modelId="{DDC93AED-B617-4431-A531-E3A229551E76}">
      <dsp:nvSpPr>
        <dsp:cNvPr id="0" name=""/>
        <dsp:cNvSpPr/>
      </dsp:nvSpPr>
      <dsp:spPr>
        <a:xfrm>
          <a:off x="3968" y="2185458"/>
          <a:ext cx="1047750" cy="104775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nl-NL" sz="1400" kern="1200" dirty="0"/>
            <a:t>Baseline</a:t>
          </a:r>
        </a:p>
      </dsp:txBody>
      <dsp:txXfrm>
        <a:off x="157407" y="2338897"/>
        <a:ext cx="740872" cy="740872"/>
      </dsp:txXfrm>
    </dsp:sp>
    <dsp:sp modelId="{86F8807B-4EBB-4D8A-9E3D-04DF5FE7D5EE}">
      <dsp:nvSpPr>
        <dsp:cNvPr id="0" name=""/>
        <dsp:cNvSpPr/>
      </dsp:nvSpPr>
      <dsp:spPr>
        <a:xfrm>
          <a:off x="3278187" y="1793468"/>
          <a:ext cx="2095500" cy="1831730"/>
        </a:xfrm>
        <a:prstGeom prst="rightArrow">
          <a:avLst>
            <a:gd name="adj1" fmla="val 70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11430" rIns="22860" bIns="11430" numCol="1" spcCol="1270" anchor="ctr" anchorCtr="0">
          <a:noAutofit/>
        </a:bodyPr>
        <a:lstStyle/>
        <a:p>
          <a:pPr marL="0" lvl="0" indent="0" algn="ctr" defTabSz="800100">
            <a:lnSpc>
              <a:spcPct val="90000"/>
            </a:lnSpc>
            <a:spcBef>
              <a:spcPct val="0"/>
            </a:spcBef>
            <a:spcAft>
              <a:spcPct val="35000"/>
            </a:spcAft>
            <a:buNone/>
          </a:pPr>
          <a:r>
            <a:rPr lang="nl-NL" sz="1800" i="1" kern="1200" dirty="0"/>
            <a:t>N</a:t>
          </a:r>
          <a:r>
            <a:rPr lang="nl-NL" sz="1800" kern="1200" dirty="0"/>
            <a:t> = 102</a:t>
          </a:r>
        </a:p>
      </dsp:txBody>
      <dsp:txXfrm>
        <a:off x="3802062" y="2068228"/>
        <a:ext cx="1021556" cy="1282211"/>
      </dsp:txXfrm>
    </dsp:sp>
    <dsp:sp modelId="{CBA45D3C-0139-4CA4-B054-950334164CF2}">
      <dsp:nvSpPr>
        <dsp:cNvPr id="0" name=""/>
        <dsp:cNvSpPr/>
      </dsp:nvSpPr>
      <dsp:spPr>
        <a:xfrm>
          <a:off x="2754312" y="2185458"/>
          <a:ext cx="1047750" cy="104775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nl-NL" sz="1200" kern="1200" dirty="0"/>
            <a:t>End-of-treatment</a:t>
          </a:r>
        </a:p>
      </dsp:txBody>
      <dsp:txXfrm>
        <a:off x="2907751" y="2338897"/>
        <a:ext cx="740872" cy="740872"/>
      </dsp:txXfrm>
    </dsp:sp>
    <dsp:sp modelId="{B52A8A8D-76C2-4B3E-BC71-7E117B3F8C5B}">
      <dsp:nvSpPr>
        <dsp:cNvPr id="0" name=""/>
        <dsp:cNvSpPr/>
      </dsp:nvSpPr>
      <dsp:spPr>
        <a:xfrm>
          <a:off x="6028531" y="1793468"/>
          <a:ext cx="2095500" cy="1831730"/>
        </a:xfrm>
        <a:prstGeom prst="rightArrow">
          <a:avLst>
            <a:gd name="adj1" fmla="val 70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0800" tIns="12700" rIns="25400" bIns="12700" numCol="1" spcCol="1270" anchor="ctr" anchorCtr="0">
          <a:noAutofit/>
        </a:bodyPr>
        <a:lstStyle/>
        <a:p>
          <a:pPr marL="0" lvl="0" indent="0" algn="ctr" defTabSz="889000">
            <a:lnSpc>
              <a:spcPct val="90000"/>
            </a:lnSpc>
            <a:spcBef>
              <a:spcPct val="0"/>
            </a:spcBef>
            <a:spcAft>
              <a:spcPct val="35000"/>
            </a:spcAft>
            <a:buNone/>
          </a:pPr>
          <a:r>
            <a:rPr lang="nl-NL" sz="2000" i="1" kern="1200" dirty="0"/>
            <a:t>N</a:t>
          </a:r>
          <a:r>
            <a:rPr lang="nl-NL" sz="2000" kern="1200" dirty="0"/>
            <a:t> = 70</a:t>
          </a:r>
        </a:p>
      </dsp:txBody>
      <dsp:txXfrm>
        <a:off x="6552406" y="2068228"/>
        <a:ext cx="1021556" cy="1282211"/>
      </dsp:txXfrm>
    </dsp:sp>
    <dsp:sp modelId="{F6D3CB06-F469-428F-9729-9E542320335A}">
      <dsp:nvSpPr>
        <dsp:cNvPr id="0" name=""/>
        <dsp:cNvSpPr/>
      </dsp:nvSpPr>
      <dsp:spPr>
        <a:xfrm>
          <a:off x="5504656" y="2185458"/>
          <a:ext cx="1047750" cy="104775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nl-NL" sz="1200" kern="1200" dirty="0"/>
            <a:t>3-month follow-up</a:t>
          </a:r>
        </a:p>
      </dsp:txBody>
      <dsp:txXfrm>
        <a:off x="5658095" y="2338897"/>
        <a:ext cx="740872" cy="74087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F80666-E1A0-496D-90B5-A3A857538295}">
      <dsp:nvSpPr>
        <dsp:cNvPr id="0" name=""/>
        <dsp:cNvSpPr/>
      </dsp:nvSpPr>
      <dsp:spPr>
        <a:xfrm>
          <a:off x="0" y="0"/>
          <a:ext cx="10386802" cy="88782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38C9655-42C9-4996-BB59-E61BA864E58E}">
      <dsp:nvSpPr>
        <dsp:cNvPr id="0" name=""/>
        <dsp:cNvSpPr/>
      </dsp:nvSpPr>
      <dsp:spPr>
        <a:xfrm>
          <a:off x="268567" y="200140"/>
          <a:ext cx="488303" cy="48830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5426D68-EDDB-4412-BCD8-D2C7011236C3}">
      <dsp:nvSpPr>
        <dsp:cNvPr id="0" name=""/>
        <dsp:cNvSpPr/>
      </dsp:nvSpPr>
      <dsp:spPr>
        <a:xfrm>
          <a:off x="1025438" y="379"/>
          <a:ext cx="9361363" cy="8878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3961" tIns="93961" rIns="93961" bIns="93961" numCol="1" spcCol="1270" anchor="ctr" anchorCtr="0">
          <a:noAutofit/>
        </a:bodyPr>
        <a:lstStyle/>
        <a:p>
          <a:pPr marL="0" lvl="0" indent="0" algn="l" defTabSz="711200">
            <a:lnSpc>
              <a:spcPct val="100000"/>
            </a:lnSpc>
            <a:spcBef>
              <a:spcPct val="0"/>
            </a:spcBef>
            <a:spcAft>
              <a:spcPct val="35000"/>
            </a:spcAft>
            <a:buNone/>
          </a:pPr>
          <a:r>
            <a:rPr lang="nl-NL" sz="1600" kern="1200" dirty="0" err="1"/>
            <a:t>Mean</a:t>
          </a:r>
          <a:r>
            <a:rPr lang="nl-NL" sz="1600" kern="1200" dirty="0"/>
            <a:t> scores of Total Family </a:t>
          </a:r>
          <a:r>
            <a:rPr lang="nl-NL" sz="1600" kern="1200" dirty="0" err="1"/>
            <a:t>Burden</a:t>
          </a:r>
          <a:r>
            <a:rPr lang="nl-NL" sz="1600" kern="1200" dirty="0"/>
            <a:t> </a:t>
          </a:r>
          <a:r>
            <a:rPr lang="nl-NL" sz="1600" kern="1200" dirty="0" err="1"/>
            <a:t>decreased</a:t>
          </a:r>
          <a:r>
            <a:rPr lang="nl-NL" sz="1600" kern="1200" dirty="0"/>
            <a:t> </a:t>
          </a:r>
          <a:r>
            <a:rPr lang="nl-NL" sz="1600" kern="1200" dirty="0" err="1"/>
            <a:t>by</a:t>
          </a:r>
          <a:r>
            <a:rPr lang="nl-NL" sz="1600" kern="1200" dirty="0"/>
            <a:t> </a:t>
          </a:r>
          <a:r>
            <a:rPr lang="nl-NL" sz="1600" kern="1200" dirty="0" err="1"/>
            <a:t>around</a:t>
          </a:r>
          <a:r>
            <a:rPr lang="nl-NL" sz="1600" kern="1200" dirty="0"/>
            <a:t> </a:t>
          </a:r>
          <a:r>
            <a:rPr lang="nl-NL" sz="1600" b="1" kern="1200" dirty="0"/>
            <a:t>20%</a:t>
          </a:r>
          <a:endParaRPr lang="en-US" sz="1600" kern="1200" dirty="0"/>
        </a:p>
      </dsp:txBody>
      <dsp:txXfrm>
        <a:off x="1025438" y="379"/>
        <a:ext cx="9361363" cy="887825"/>
      </dsp:txXfrm>
    </dsp:sp>
    <dsp:sp modelId="{0658925C-5297-459C-A1E5-EDD4369CB02A}">
      <dsp:nvSpPr>
        <dsp:cNvPr id="0" name=""/>
        <dsp:cNvSpPr/>
      </dsp:nvSpPr>
      <dsp:spPr>
        <a:xfrm>
          <a:off x="0" y="1110160"/>
          <a:ext cx="10386802" cy="88782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6B0B06F-95F1-4ABC-9157-1F6739E0CEAE}">
      <dsp:nvSpPr>
        <dsp:cNvPr id="0" name=""/>
        <dsp:cNvSpPr/>
      </dsp:nvSpPr>
      <dsp:spPr>
        <a:xfrm>
          <a:off x="268567" y="1309921"/>
          <a:ext cx="488303" cy="488303"/>
        </a:xfrm>
        <a:prstGeom prst="rect">
          <a:avLst/>
        </a:prstGeom>
        <a:blipFill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7089723-2E17-45FA-A4B4-681098528A4E}">
      <dsp:nvSpPr>
        <dsp:cNvPr id="0" name=""/>
        <dsp:cNvSpPr/>
      </dsp:nvSpPr>
      <dsp:spPr>
        <a:xfrm>
          <a:off x="1025438" y="1110160"/>
          <a:ext cx="9361363" cy="8878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3961" tIns="93961" rIns="93961" bIns="93961" numCol="1" spcCol="1270" anchor="ctr" anchorCtr="0">
          <a:noAutofit/>
        </a:bodyPr>
        <a:lstStyle/>
        <a:p>
          <a:pPr marL="0" lvl="0" indent="0" algn="l" defTabSz="711200">
            <a:lnSpc>
              <a:spcPct val="100000"/>
            </a:lnSpc>
            <a:spcBef>
              <a:spcPct val="0"/>
            </a:spcBef>
            <a:spcAft>
              <a:spcPct val="35000"/>
            </a:spcAft>
            <a:buNone/>
          </a:pPr>
          <a:r>
            <a:rPr lang="nl-NL" sz="1600" kern="1200" dirty="0" err="1"/>
            <a:t>Mean</a:t>
          </a:r>
          <a:r>
            <a:rPr lang="nl-NL" sz="1600" kern="1200" dirty="0"/>
            <a:t> scores of Total Family </a:t>
          </a:r>
          <a:r>
            <a:rPr lang="nl-NL" sz="1600" kern="1200" dirty="0" err="1"/>
            <a:t>Burden</a:t>
          </a:r>
          <a:r>
            <a:rPr lang="nl-NL" sz="1600" kern="1200" dirty="0"/>
            <a:t> </a:t>
          </a:r>
          <a:r>
            <a:rPr lang="nl-NL" sz="1600" kern="1200" dirty="0" err="1"/>
            <a:t>decreased</a:t>
          </a:r>
          <a:r>
            <a:rPr lang="nl-NL" sz="1600" kern="1200" dirty="0"/>
            <a:t> AGAIN </a:t>
          </a:r>
          <a:r>
            <a:rPr lang="nl-NL" sz="1600" kern="1200" dirty="0" err="1"/>
            <a:t>by</a:t>
          </a:r>
          <a:r>
            <a:rPr lang="nl-NL" sz="1600" kern="1200" dirty="0"/>
            <a:t> </a:t>
          </a:r>
          <a:r>
            <a:rPr lang="nl-NL" sz="1600" kern="1200" dirty="0" err="1"/>
            <a:t>around</a:t>
          </a:r>
          <a:r>
            <a:rPr lang="nl-NL" sz="1600" kern="1200" dirty="0"/>
            <a:t> </a:t>
          </a:r>
          <a:r>
            <a:rPr lang="nl-NL" sz="1600" b="1" kern="1200" dirty="0"/>
            <a:t>20% </a:t>
          </a:r>
          <a:r>
            <a:rPr lang="nl-NL" sz="1600" kern="1200" dirty="0"/>
            <a:t>at 3-month follow-up</a:t>
          </a:r>
          <a:endParaRPr lang="en-US" sz="1600" kern="1200" dirty="0"/>
        </a:p>
      </dsp:txBody>
      <dsp:txXfrm>
        <a:off x="1025438" y="1110160"/>
        <a:ext cx="9361363" cy="887825"/>
      </dsp:txXfrm>
    </dsp:sp>
    <dsp:sp modelId="{FF17A8C6-BA18-4241-95B5-7FE509600E46}">
      <dsp:nvSpPr>
        <dsp:cNvPr id="0" name=""/>
        <dsp:cNvSpPr/>
      </dsp:nvSpPr>
      <dsp:spPr>
        <a:xfrm>
          <a:off x="0" y="2219942"/>
          <a:ext cx="10386802" cy="88782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AEFC241-C66E-44AB-BA6A-94F41CBC5203}">
      <dsp:nvSpPr>
        <dsp:cNvPr id="0" name=""/>
        <dsp:cNvSpPr/>
      </dsp:nvSpPr>
      <dsp:spPr>
        <a:xfrm>
          <a:off x="268567" y="2419703"/>
          <a:ext cx="488303" cy="48830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9E351B9-3AC7-4C36-AFA5-9FEA993903BE}">
      <dsp:nvSpPr>
        <dsp:cNvPr id="0" name=""/>
        <dsp:cNvSpPr/>
      </dsp:nvSpPr>
      <dsp:spPr>
        <a:xfrm>
          <a:off x="1025438" y="2219942"/>
          <a:ext cx="9361363" cy="8878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3961" tIns="93961" rIns="93961" bIns="93961" numCol="1" spcCol="1270" anchor="ctr" anchorCtr="0">
          <a:noAutofit/>
        </a:bodyPr>
        <a:lstStyle/>
        <a:p>
          <a:pPr marL="0" lvl="0" indent="0" algn="l" defTabSz="711200">
            <a:lnSpc>
              <a:spcPct val="100000"/>
            </a:lnSpc>
            <a:spcBef>
              <a:spcPct val="0"/>
            </a:spcBef>
            <a:spcAft>
              <a:spcPct val="35000"/>
            </a:spcAft>
            <a:buNone/>
          </a:pPr>
          <a:r>
            <a:rPr lang="en-US" sz="1600" kern="1200" dirty="0"/>
            <a:t>Participants following the intervention online performed </a:t>
          </a:r>
          <a:r>
            <a:rPr lang="en-US" sz="1600" b="1" kern="1200" dirty="0"/>
            <a:t>equally well or better</a:t>
          </a:r>
        </a:p>
      </dsp:txBody>
      <dsp:txXfrm>
        <a:off x="1025438" y="2219942"/>
        <a:ext cx="9361363" cy="887825"/>
      </dsp:txXfrm>
    </dsp:sp>
  </dsp:spTree>
</dsp:drawing>
</file>

<file path=ppt/diagrams/layout1.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CE9994-00F1-445C-9F98-8F4F18C25DDD}" type="datetimeFigureOut">
              <a:rPr lang="en-GB" smtClean="0"/>
              <a:t>05/06/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7DA0C5-05A8-4BD4-BAEF-BF6B6E96BA7D}" type="slidenum">
              <a:rPr lang="en-GB" smtClean="0"/>
              <a:t>‹#›</a:t>
            </a:fld>
            <a:endParaRPr lang="en-GB"/>
          </a:p>
        </p:txBody>
      </p:sp>
    </p:spTree>
    <p:extLst>
      <p:ext uri="{BB962C8B-B14F-4D97-AF65-F5344CB8AC3E}">
        <p14:creationId xmlns:p14="http://schemas.microsoft.com/office/powerpoint/2010/main" val="19986141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err="1"/>
              <a:t>Hello</a:t>
            </a:r>
            <a:r>
              <a:rPr lang="nl-NL" dirty="0"/>
              <a:t> </a:t>
            </a:r>
            <a:r>
              <a:rPr lang="nl-NL" dirty="0" err="1"/>
              <a:t>everyone</a:t>
            </a:r>
            <a:r>
              <a:rPr lang="nl-NL" dirty="0"/>
              <a:t>, </a:t>
            </a:r>
            <a:r>
              <a:rPr lang="nl-NL" dirty="0" err="1"/>
              <a:t>welcome</a:t>
            </a:r>
            <a:r>
              <a:rPr lang="nl-NL" dirty="0"/>
              <a:t> </a:t>
            </a:r>
            <a:r>
              <a:rPr lang="nl-NL" dirty="0" err="1"/>
              <a:t>to</a:t>
            </a:r>
            <a:r>
              <a:rPr lang="nl-NL" dirty="0"/>
              <a:t> </a:t>
            </a:r>
            <a:r>
              <a:rPr lang="nl-NL" dirty="0" err="1"/>
              <a:t>my</a:t>
            </a:r>
            <a:r>
              <a:rPr lang="nl-NL" dirty="0"/>
              <a:t> </a:t>
            </a:r>
            <a:r>
              <a:rPr lang="nl-NL" dirty="0" err="1"/>
              <a:t>presentation</a:t>
            </a:r>
            <a:r>
              <a:rPr lang="nl-NL" dirty="0"/>
              <a:t>, I </a:t>
            </a:r>
            <a:r>
              <a:rPr lang="nl-NL" dirty="0" err="1"/>
              <a:t>am</a:t>
            </a:r>
            <a:r>
              <a:rPr lang="nl-NL" dirty="0"/>
              <a:t> happy </a:t>
            </a:r>
            <a:r>
              <a:rPr lang="nl-NL" dirty="0" err="1"/>
              <a:t>to</a:t>
            </a:r>
            <a:r>
              <a:rPr lang="nl-NL" dirty="0"/>
              <a:t> </a:t>
            </a:r>
            <a:r>
              <a:rPr lang="nl-NL" dirty="0" err="1"/>
              <a:t>be</a:t>
            </a:r>
            <a:r>
              <a:rPr lang="nl-NL" dirty="0"/>
              <a:t> here </a:t>
            </a:r>
            <a:r>
              <a:rPr lang="nl-NL" dirty="0" err="1"/>
              <a:t>today</a:t>
            </a:r>
            <a:r>
              <a:rPr lang="nl-NL" dirty="0"/>
              <a:t>, </a:t>
            </a:r>
            <a:r>
              <a:rPr lang="nl-NL" dirty="0" err="1"/>
              <a:t>my</a:t>
            </a:r>
            <a:r>
              <a:rPr lang="nl-NL" dirty="0"/>
              <a:t> name is Max van Beek, I </a:t>
            </a:r>
            <a:r>
              <a:rPr lang="nl-NL" dirty="0" err="1"/>
              <a:t>work</a:t>
            </a:r>
            <a:r>
              <a:rPr lang="nl-NL" dirty="0"/>
              <a:t> as a </a:t>
            </a:r>
            <a:r>
              <a:rPr lang="nl-NL" dirty="0" err="1"/>
              <a:t>psychologist</a:t>
            </a:r>
            <a:r>
              <a:rPr lang="nl-NL" dirty="0"/>
              <a:t> </a:t>
            </a:r>
            <a:r>
              <a:rPr lang="nl-NL" dirty="0" err="1"/>
              <a:t>and</a:t>
            </a:r>
            <a:r>
              <a:rPr lang="nl-NL" dirty="0"/>
              <a:t> researcher at Jellinek, </a:t>
            </a:r>
            <a:r>
              <a:rPr lang="nl-NL" dirty="0" err="1"/>
              <a:t>which</a:t>
            </a:r>
            <a:r>
              <a:rPr lang="nl-NL" dirty="0"/>
              <a:t> is </a:t>
            </a:r>
            <a:r>
              <a:rPr lang="nl-NL" dirty="0" err="1"/>
              <a:t>an</a:t>
            </a:r>
            <a:r>
              <a:rPr lang="nl-NL" dirty="0"/>
              <a:t> </a:t>
            </a:r>
            <a:r>
              <a:rPr lang="nl-NL" dirty="0" err="1"/>
              <a:t>addiction</a:t>
            </a:r>
            <a:r>
              <a:rPr lang="nl-NL" dirty="0"/>
              <a:t> treatment center in </a:t>
            </a:r>
            <a:r>
              <a:rPr lang="nl-NL" dirty="0" err="1"/>
              <a:t>the</a:t>
            </a:r>
            <a:r>
              <a:rPr lang="nl-NL" dirty="0"/>
              <a:t> Netherlands, </a:t>
            </a:r>
            <a:r>
              <a:rPr lang="nl-NL" dirty="0" err="1"/>
              <a:t>today</a:t>
            </a:r>
            <a:r>
              <a:rPr lang="nl-NL" dirty="0"/>
              <a:t> I </a:t>
            </a:r>
            <a:r>
              <a:rPr lang="nl-NL" dirty="0" err="1"/>
              <a:t>will</a:t>
            </a:r>
            <a:r>
              <a:rPr lang="nl-NL" dirty="0"/>
              <a:t> </a:t>
            </a:r>
            <a:r>
              <a:rPr lang="nl-NL" dirty="0" err="1"/>
              <a:t>be</a:t>
            </a:r>
            <a:r>
              <a:rPr lang="nl-NL" dirty="0"/>
              <a:t> </a:t>
            </a:r>
            <a:r>
              <a:rPr lang="nl-NL" dirty="0" err="1"/>
              <a:t>giving</a:t>
            </a:r>
            <a:r>
              <a:rPr lang="nl-NL" dirty="0"/>
              <a:t> a </a:t>
            </a:r>
            <a:r>
              <a:rPr lang="nl-NL" dirty="0" err="1"/>
              <a:t>presentation</a:t>
            </a:r>
            <a:r>
              <a:rPr lang="nl-NL" dirty="0"/>
              <a:t> </a:t>
            </a:r>
            <a:r>
              <a:rPr lang="nl-NL" dirty="0" err="1"/>
              <a:t>titled</a:t>
            </a:r>
            <a:r>
              <a:rPr lang="nl-NL" dirty="0"/>
              <a:t>: </a:t>
            </a:r>
          </a:p>
        </p:txBody>
      </p:sp>
      <p:sp>
        <p:nvSpPr>
          <p:cNvPr id="4" name="Tijdelijke aanduiding voor dianummer 3"/>
          <p:cNvSpPr>
            <a:spLocks noGrp="1"/>
          </p:cNvSpPr>
          <p:nvPr>
            <p:ph type="sldNum" sz="quarter" idx="5"/>
          </p:nvPr>
        </p:nvSpPr>
        <p:spPr/>
        <p:txBody>
          <a:bodyPr/>
          <a:lstStyle/>
          <a:p>
            <a:fld id="{D47DA0C5-05A8-4BD4-BAEF-BF6B6E96BA7D}" type="slidenum">
              <a:rPr lang="en-GB" smtClean="0"/>
              <a:t>1</a:t>
            </a:fld>
            <a:endParaRPr lang="en-GB"/>
          </a:p>
        </p:txBody>
      </p:sp>
    </p:spTree>
    <p:extLst>
      <p:ext uri="{BB962C8B-B14F-4D97-AF65-F5344CB8AC3E}">
        <p14:creationId xmlns:p14="http://schemas.microsoft.com/office/powerpoint/2010/main" val="42066989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D47DA0C5-05A8-4BD4-BAEF-BF6B6E96BA7D}" type="slidenum">
              <a:rPr lang="en-GB" smtClean="0"/>
              <a:t>11</a:t>
            </a:fld>
            <a:endParaRPr lang="en-GB"/>
          </a:p>
        </p:txBody>
      </p:sp>
    </p:spTree>
    <p:extLst>
      <p:ext uri="{BB962C8B-B14F-4D97-AF65-F5344CB8AC3E}">
        <p14:creationId xmlns:p14="http://schemas.microsoft.com/office/powerpoint/2010/main" val="31345177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gn="l"/>
            <a:r>
              <a:rPr lang="en-US" sz="1800" b="0" i="0" u="none" strike="noStrike" baseline="0" dirty="0">
                <a:latin typeface="AdvOT46dcae81"/>
              </a:rPr>
              <a:t>The incomplete dataset could lead to a biased interpretation of the results, because of the possibility of the drop-out of participants, who experience little to no</a:t>
            </a:r>
          </a:p>
          <a:p>
            <a:pPr algn="l"/>
            <a:r>
              <a:rPr lang="en-US" sz="1800" b="0" i="0" u="none" strike="noStrike" baseline="0" dirty="0">
                <a:latin typeface="AdvOT46dcae81"/>
              </a:rPr>
              <a:t>effect of the intervention. However, when looking at the drop-out statistics, only 9 out of 145 participants did not complete the intervention. This indicates the total number of missing FMQs (43 at end-of-treatment) does not correspond with participants giving up on the intervention and dropping out. Instead, this finding suggests the missing FMQs either were not obtained or were lost, because of accidental flaws in the data collection processes of this study, most likely</a:t>
            </a:r>
          </a:p>
          <a:p>
            <a:pPr algn="l"/>
            <a:r>
              <a:rPr lang="en-US" sz="1800" b="0" i="0" u="none" strike="noStrike" baseline="0" dirty="0">
                <a:latin typeface="AdvOT46dcae81"/>
              </a:rPr>
              <a:t>because of the enforced Dutch COVID-19 measures and the forced switch to a video-conferencing intervention setting.</a:t>
            </a:r>
          </a:p>
          <a:p>
            <a:pPr algn="l"/>
            <a:endParaRPr lang="en-US" sz="1800" b="0" i="0" u="none" strike="noStrike" baseline="0" dirty="0">
              <a:latin typeface="AdvOT46dcae81"/>
            </a:endParaRPr>
          </a:p>
          <a:p>
            <a:pPr algn="l"/>
            <a:r>
              <a:rPr lang="en-US" sz="1800" b="0" i="0" u="none" strike="noStrike" baseline="0" dirty="0">
                <a:latin typeface="AdvOT46dcae81"/>
              </a:rPr>
              <a:t>In addition, an intention-to-treat analysis (ITT) was conducted by applying last observation carried forward </a:t>
            </a:r>
            <a:r>
              <a:rPr lang="nl-NL" sz="1800" b="0" i="0" u="none" strike="noStrike" baseline="0" dirty="0" err="1">
                <a:latin typeface="AdvOT46dcae81"/>
              </a:rPr>
              <a:t>to</a:t>
            </a:r>
            <a:r>
              <a:rPr lang="nl-NL" sz="1800" b="0" i="0" u="none" strike="noStrike" baseline="0" dirty="0">
                <a:latin typeface="AdvOT46dcae81"/>
              </a:rPr>
              <a:t> </a:t>
            </a:r>
            <a:r>
              <a:rPr lang="en-US" sz="1800" b="0" i="0" u="none" strike="noStrike" baseline="0" dirty="0">
                <a:latin typeface="AdvOT46dcae81"/>
              </a:rPr>
              <a:t>address the number of missing values in this study and to provide </a:t>
            </a:r>
            <a:r>
              <a:rPr lang="nl-NL" sz="1800" b="0" i="0" u="none" strike="noStrike" baseline="0" dirty="0" err="1">
                <a:latin typeface="AdvOT46dcae81"/>
              </a:rPr>
              <a:t>supplementary</a:t>
            </a:r>
            <a:r>
              <a:rPr lang="nl-NL" sz="1800" b="0" i="0" u="none" strike="noStrike" baseline="0" dirty="0">
                <a:latin typeface="AdvOT46dcae81"/>
              </a:rPr>
              <a:t> </a:t>
            </a:r>
            <a:r>
              <a:rPr lang="nl-NL" sz="1800" b="0" i="0" u="none" strike="noStrike" baseline="0" dirty="0" err="1">
                <a:latin typeface="AdvOT46dcae81"/>
              </a:rPr>
              <a:t>results</a:t>
            </a:r>
            <a:r>
              <a:rPr lang="nl-NL" sz="1800" b="0" i="0" u="none" strike="noStrike" baseline="0" dirty="0">
                <a:latin typeface="AdvOT46dcae81"/>
              </a:rPr>
              <a:t>. </a:t>
            </a:r>
          </a:p>
          <a:p>
            <a:pPr algn="l"/>
            <a:endParaRPr lang="nl-NL" sz="1800" b="0" i="0" u="none" strike="noStrike" baseline="0" dirty="0">
              <a:latin typeface="AdvOT46dcae81"/>
            </a:endParaRPr>
          </a:p>
          <a:p>
            <a:pPr algn="l"/>
            <a:r>
              <a:rPr lang="nl-NL" sz="1800" b="0" i="0" u="none" strike="noStrike" baseline="0" dirty="0" err="1">
                <a:solidFill>
                  <a:srgbClr val="000000"/>
                </a:solidFill>
                <a:latin typeface="AdvOT46dcae81"/>
              </a:rPr>
              <a:t>However</a:t>
            </a:r>
            <a:r>
              <a:rPr lang="nl-NL" sz="1800" b="0" i="0" u="none" strike="noStrike" baseline="0" dirty="0">
                <a:solidFill>
                  <a:srgbClr val="000000"/>
                </a:solidFill>
                <a:latin typeface="AdvOT46dcae81"/>
              </a:rPr>
              <a:t>, </a:t>
            </a:r>
            <a:r>
              <a:rPr lang="nl-NL" sz="1800" b="0" i="0" u="none" strike="noStrike" baseline="0" dirty="0" err="1">
                <a:solidFill>
                  <a:srgbClr val="000000"/>
                </a:solidFill>
                <a:latin typeface="AdvOT46dcae81"/>
              </a:rPr>
              <a:t>several</a:t>
            </a:r>
            <a:r>
              <a:rPr lang="nl-NL" sz="1800" b="0" i="0" u="none" strike="noStrike" baseline="0" dirty="0">
                <a:solidFill>
                  <a:srgbClr val="000000"/>
                </a:solidFill>
                <a:latin typeface="AdvOT46dcae81"/>
              </a:rPr>
              <a:t> factors </a:t>
            </a:r>
            <a:r>
              <a:rPr lang="nl-NL" sz="1800" b="0" i="0" u="none" strike="noStrike" baseline="0" dirty="0" err="1">
                <a:solidFill>
                  <a:srgbClr val="000000"/>
                </a:solidFill>
                <a:latin typeface="AdvOT46dcae81"/>
              </a:rPr>
              <a:t>limiting</a:t>
            </a:r>
            <a:r>
              <a:rPr lang="nl-NL" sz="1800" b="0" i="0" u="none" strike="noStrike" baseline="0" dirty="0">
                <a:solidFill>
                  <a:srgbClr val="000000"/>
                </a:solidFill>
                <a:latin typeface="AdvOT46dcae81"/>
              </a:rPr>
              <a:t> </a:t>
            </a:r>
            <a:r>
              <a:rPr lang="en-US" sz="1800" b="0" i="0" u="none" strike="noStrike" baseline="0" dirty="0">
                <a:solidFill>
                  <a:srgbClr val="000000"/>
                </a:solidFill>
                <a:latin typeface="AdvOT46dcae81"/>
              </a:rPr>
              <a:t>the generalizability of these findings should be noted. First of all, the video-conferencing versus face-to-face delivery of the</a:t>
            </a:r>
          </a:p>
          <a:p>
            <a:pPr algn="l"/>
            <a:r>
              <a:rPr lang="en-US" sz="1800" b="0" i="0" u="none" strike="noStrike" baseline="0" dirty="0">
                <a:solidFill>
                  <a:srgbClr val="000000"/>
                </a:solidFill>
                <a:latin typeface="AdvOT46dcae81"/>
              </a:rPr>
              <a:t>intervention was </a:t>
            </a:r>
            <a:r>
              <a:rPr lang="en-US" sz="1800" b="1" i="0" u="none" strike="noStrike" baseline="0" dirty="0">
                <a:solidFill>
                  <a:srgbClr val="000000"/>
                </a:solidFill>
                <a:latin typeface="AdvOT46dcae81"/>
              </a:rPr>
              <a:t>not allocated randomly </a:t>
            </a:r>
            <a:r>
              <a:rPr lang="en-US" sz="1800" b="0" i="0" u="none" strike="noStrike" baseline="0" dirty="0">
                <a:solidFill>
                  <a:srgbClr val="000000"/>
                </a:solidFill>
                <a:latin typeface="AdvOT46dcae81"/>
              </a:rPr>
              <a:t>and not set up intentionally before the start of the study. Selective effects might have occurred due to group assignment based on national COVID restrictions instead of </a:t>
            </a:r>
            <a:r>
              <a:rPr lang="en-US" sz="1800" b="1" i="0" u="none" strike="noStrike" baseline="0" dirty="0">
                <a:solidFill>
                  <a:srgbClr val="000000"/>
                </a:solidFill>
                <a:latin typeface="AdvOT46dcae81"/>
              </a:rPr>
              <a:t>randomizing the allocation of the treatment condition</a:t>
            </a:r>
            <a:r>
              <a:rPr lang="en-US" sz="1800" b="0" i="0" u="none" strike="noStrike" baseline="0" dirty="0">
                <a:solidFill>
                  <a:srgbClr val="000000"/>
                </a:solidFill>
                <a:latin typeface="AdvOT46dcae81"/>
              </a:rPr>
              <a:t>, and the first sessions of the</a:t>
            </a:r>
          </a:p>
          <a:p>
            <a:pPr algn="l"/>
            <a:r>
              <a:rPr lang="en-US" sz="1800" b="0" i="0" u="none" strike="noStrike" baseline="0" dirty="0">
                <a:solidFill>
                  <a:srgbClr val="000000"/>
                </a:solidFill>
                <a:latin typeface="AdvOT46dcae81"/>
              </a:rPr>
              <a:t>video conferencing condition might have been different and more experimental compared to sessions at the end of the study. Secondly, the video conferencing condition may have been affected by several (psychosocial) consequences of the Dutch COVID-19 lockdown measures. For example, </a:t>
            </a:r>
            <a:r>
              <a:rPr lang="en-US" sz="1800" b="1" i="0" u="none" strike="noStrike" baseline="0" dirty="0">
                <a:solidFill>
                  <a:srgbClr val="000000"/>
                </a:solidFill>
                <a:latin typeface="AdvOT46dcae81"/>
              </a:rPr>
              <a:t>participants</a:t>
            </a:r>
          </a:p>
          <a:p>
            <a:pPr algn="l"/>
            <a:r>
              <a:rPr lang="en-US" sz="1800" b="1" i="0" u="none" strike="noStrike" baseline="0" dirty="0">
                <a:solidFill>
                  <a:srgbClr val="000000"/>
                </a:solidFill>
                <a:latin typeface="AdvOT46dcae81"/>
              </a:rPr>
              <a:t>might have been more motivated and inclined to participate in online sessions due to the forced regulations to stay at home</a:t>
            </a:r>
            <a:r>
              <a:rPr lang="en-US" sz="1800" b="0" i="0" u="none" strike="noStrike" baseline="0" dirty="0">
                <a:solidFill>
                  <a:srgbClr val="000000"/>
                </a:solidFill>
                <a:latin typeface="AdvOT46dcae81"/>
              </a:rPr>
              <a:t>, or </a:t>
            </a:r>
            <a:r>
              <a:rPr lang="en-US" sz="1800" b="1" i="0" u="none" strike="noStrike" baseline="0" dirty="0">
                <a:solidFill>
                  <a:srgbClr val="000000"/>
                </a:solidFill>
                <a:latin typeface="AdvOT46dcae81"/>
              </a:rPr>
              <a:t>might have experienced several facets of family burden differently, such as worrying behaviors, active disturbances, and coping behaviors (see </a:t>
            </a:r>
            <a:r>
              <a:rPr lang="en-US" sz="1800" b="1" i="0" u="none" strike="noStrike" baseline="0" dirty="0">
                <a:solidFill>
                  <a:srgbClr val="000081"/>
                </a:solidFill>
                <a:latin typeface="AdvOT46dcae81"/>
              </a:rPr>
              <a:t>Appendix A</a:t>
            </a:r>
            <a:r>
              <a:rPr lang="en-US" sz="1800" b="1" i="0" u="none" strike="noStrike" baseline="0" dirty="0">
                <a:solidFill>
                  <a:srgbClr val="000000"/>
                </a:solidFill>
                <a:latin typeface="AdvOT46dcae81"/>
              </a:rPr>
              <a:t>), due to psychosocial consequences of the COVID-19 lockdown.</a:t>
            </a:r>
            <a:endParaRPr lang="nl-NL" b="1" dirty="0"/>
          </a:p>
        </p:txBody>
      </p:sp>
      <p:sp>
        <p:nvSpPr>
          <p:cNvPr id="4" name="Tijdelijke aanduiding voor dianummer 3"/>
          <p:cNvSpPr>
            <a:spLocks noGrp="1"/>
          </p:cNvSpPr>
          <p:nvPr>
            <p:ph type="sldNum" sz="quarter" idx="5"/>
          </p:nvPr>
        </p:nvSpPr>
        <p:spPr/>
        <p:txBody>
          <a:bodyPr/>
          <a:lstStyle/>
          <a:p>
            <a:fld id="{D47DA0C5-05A8-4BD4-BAEF-BF6B6E96BA7D}" type="slidenum">
              <a:rPr lang="en-GB" smtClean="0"/>
              <a:t>12</a:t>
            </a:fld>
            <a:endParaRPr lang="en-GB"/>
          </a:p>
        </p:txBody>
      </p:sp>
    </p:spTree>
    <p:extLst>
      <p:ext uri="{BB962C8B-B14F-4D97-AF65-F5344CB8AC3E}">
        <p14:creationId xmlns:p14="http://schemas.microsoft.com/office/powerpoint/2010/main" val="42846236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gn="l"/>
            <a:r>
              <a:rPr lang="en-US" sz="1800" b="0" i="0" u="none" strike="noStrike" baseline="0" dirty="0">
                <a:latin typeface="AdvOT46dcae81"/>
              </a:rPr>
              <a:t>First of all, the efficacy of the 5-Step Method might improve by finding additional ways to increase informal and formal support, which might be good additions to the intervention and might generate a lasting increase in informal support. For example, AFMs might be encouraged to meet up on their own accord with other group members, after finishing the invention, or it might be possible to establish a digital platform to stay in contact and meet. Obviously, if such changes</a:t>
            </a:r>
          </a:p>
          <a:p>
            <a:pPr algn="l"/>
            <a:r>
              <a:rPr lang="en-US" sz="1800" b="0" i="0" u="none" strike="noStrike" baseline="0" dirty="0">
                <a:latin typeface="AdvOT46dcae81"/>
              </a:rPr>
              <a:t>to the 5-Step Method were to be implemented, these would need to be formally scientifically evaluated.</a:t>
            </a:r>
          </a:p>
          <a:p>
            <a:pPr algn="l"/>
            <a:endParaRPr lang="en-US" sz="1800" b="0" i="0" u="none" strike="noStrike" baseline="0" dirty="0">
              <a:latin typeface="AdvOT46dcae81"/>
            </a:endParaRPr>
          </a:p>
          <a:p>
            <a:pPr algn="l"/>
            <a:r>
              <a:rPr lang="en-US" sz="1800" b="0" i="0" u="none" strike="noStrike" baseline="0" dirty="0">
                <a:solidFill>
                  <a:srgbClr val="000000"/>
                </a:solidFill>
                <a:latin typeface="AdvOT46dcae81"/>
              </a:rPr>
              <a:t>Secondly, no study has yet compared the effect of the 5-Step Method with other interventions or services aimed at improving the psychosocial wellbeing of AFMs, such as the </a:t>
            </a:r>
            <a:r>
              <a:rPr lang="nl-NL" sz="1800" b="0" i="0" u="none" strike="noStrike" baseline="0" dirty="0">
                <a:solidFill>
                  <a:srgbClr val="000000"/>
                </a:solidFill>
                <a:latin typeface="AdvOT46dcae81"/>
              </a:rPr>
              <a:t>CRAFT </a:t>
            </a:r>
            <a:r>
              <a:rPr lang="nl-NL" sz="1800" b="0" i="0" u="none" strike="noStrike" baseline="0" dirty="0" err="1">
                <a:solidFill>
                  <a:srgbClr val="000000"/>
                </a:solidFill>
                <a:latin typeface="AdvOT46dcae81"/>
              </a:rPr>
              <a:t>programme</a:t>
            </a:r>
            <a:r>
              <a:rPr lang="nl-NL" sz="1800" b="0" i="0" u="none" strike="noStrike" baseline="0" dirty="0">
                <a:solidFill>
                  <a:srgbClr val="000000"/>
                </a:solidFill>
                <a:latin typeface="AdvOT46dcae81"/>
              </a:rPr>
              <a:t> (Miller et al., </a:t>
            </a:r>
            <a:r>
              <a:rPr lang="nl-NL" sz="1800" b="0" i="0" u="none" strike="noStrike" baseline="0" dirty="0">
                <a:solidFill>
                  <a:srgbClr val="000081"/>
                </a:solidFill>
                <a:latin typeface="AdvOT46dcae81"/>
              </a:rPr>
              <a:t>1999</a:t>
            </a:r>
            <a:r>
              <a:rPr lang="nl-NL" sz="1800" b="0" i="0" u="none" strike="noStrike" baseline="0" dirty="0">
                <a:solidFill>
                  <a:srgbClr val="000000"/>
                </a:solidFill>
                <a:latin typeface="AdvOT46dcae81"/>
              </a:rPr>
              <a:t>), </a:t>
            </a:r>
            <a:r>
              <a:rPr lang="nl-NL" sz="1800" b="0" i="0" u="none" strike="noStrike" baseline="0" dirty="0" err="1">
                <a:solidFill>
                  <a:srgbClr val="000000"/>
                </a:solidFill>
                <a:latin typeface="AdvOT46dcae81"/>
              </a:rPr>
              <a:t>the</a:t>
            </a:r>
            <a:r>
              <a:rPr lang="nl-NL" sz="1800" b="0" i="0" u="none" strike="noStrike" baseline="0" dirty="0">
                <a:solidFill>
                  <a:srgbClr val="000000"/>
                </a:solidFill>
                <a:latin typeface="AdvOT46dcae81"/>
              </a:rPr>
              <a:t> </a:t>
            </a:r>
            <a:r>
              <a:rPr lang="nl-NL" sz="1800" b="0" i="0" u="none" strike="noStrike" baseline="0" dirty="0" err="1">
                <a:solidFill>
                  <a:srgbClr val="000000"/>
                </a:solidFill>
                <a:latin typeface="AdvOT46dcae81"/>
              </a:rPr>
              <a:t>Invitation</a:t>
            </a:r>
            <a:r>
              <a:rPr lang="nl-NL" sz="1800" b="0" i="0" u="none" strike="noStrike" baseline="0" dirty="0">
                <a:solidFill>
                  <a:srgbClr val="000000"/>
                </a:solidFill>
                <a:latin typeface="AdvOT46dcae81"/>
              </a:rPr>
              <a:t> </a:t>
            </a:r>
            <a:r>
              <a:rPr lang="nl-NL" sz="1800" b="0" i="0" u="none" strike="noStrike" baseline="0" dirty="0" err="1">
                <a:solidFill>
                  <a:srgbClr val="000000"/>
                </a:solidFill>
                <a:latin typeface="AdvOT46dcae81"/>
              </a:rPr>
              <a:t>to</a:t>
            </a:r>
            <a:r>
              <a:rPr lang="nl-NL" sz="1800" b="0" i="0" u="none" strike="noStrike" baseline="0" dirty="0">
                <a:solidFill>
                  <a:srgbClr val="000000"/>
                </a:solidFill>
                <a:latin typeface="AdvOT46dcae81"/>
              </a:rPr>
              <a:t> </a:t>
            </a:r>
            <a:r>
              <a:rPr lang="en-US" sz="1800" b="0" i="0" u="none" strike="noStrike" baseline="0" dirty="0">
                <a:solidFill>
                  <a:srgbClr val="000000"/>
                </a:solidFill>
                <a:latin typeface="AdvOT46dcae81"/>
              </a:rPr>
              <a:t>Change approach (CMC, </a:t>
            </a:r>
            <a:r>
              <a:rPr lang="en-US" sz="1800" b="0" i="0" u="none" strike="noStrike" baseline="0" dirty="0">
                <a:solidFill>
                  <a:srgbClr val="000081"/>
                </a:solidFill>
                <a:latin typeface="AdvOT46dcae81"/>
              </a:rPr>
              <a:t>2018</a:t>
            </a:r>
            <a:r>
              <a:rPr lang="en-US" sz="1800" b="0" i="0" u="none" strike="noStrike" baseline="0" dirty="0">
                <a:solidFill>
                  <a:srgbClr val="000000"/>
                </a:solidFill>
                <a:latin typeface="AdvOT46dcae81"/>
              </a:rPr>
              <a:t>), SMART Recovery</a:t>
            </a:r>
            <a:r>
              <a:rPr lang="en-US" sz="1800" b="0" i="0" u="none" strike="noStrike" baseline="0" dirty="0">
                <a:solidFill>
                  <a:srgbClr val="000000"/>
                </a:solidFill>
                <a:latin typeface="AdvOT46dcae81+20"/>
              </a:rPr>
              <a:t>’</a:t>
            </a:r>
            <a:r>
              <a:rPr lang="en-US" sz="1800" b="0" i="0" u="none" strike="noStrike" baseline="0" dirty="0">
                <a:solidFill>
                  <a:srgbClr val="000000"/>
                </a:solidFill>
                <a:latin typeface="AdvOT46dcae81"/>
              </a:rPr>
              <a:t>s Family and Friends </a:t>
            </a:r>
            <a:r>
              <a:rPr lang="en-US" sz="1800" b="0" i="0" u="none" strike="noStrike" baseline="0" dirty="0" err="1">
                <a:solidFill>
                  <a:srgbClr val="000000"/>
                </a:solidFill>
                <a:latin typeface="AdvOT46dcae81"/>
              </a:rPr>
              <a:t>programme</a:t>
            </a:r>
            <a:r>
              <a:rPr lang="en-US" sz="1800" b="0" i="0" u="none" strike="noStrike" baseline="0" dirty="0">
                <a:solidFill>
                  <a:srgbClr val="000000"/>
                </a:solidFill>
                <a:latin typeface="AdvOT46dcae81"/>
              </a:rPr>
              <a:t> (SMART Recovery, </a:t>
            </a:r>
            <a:r>
              <a:rPr lang="en-US" sz="1800" b="0" i="0" u="none" strike="noStrike" baseline="0" dirty="0">
                <a:solidFill>
                  <a:srgbClr val="000081"/>
                </a:solidFill>
                <a:latin typeface="AdvOT46dcae81"/>
              </a:rPr>
              <a:t>undated</a:t>
            </a:r>
            <a:r>
              <a:rPr lang="en-US" sz="1800" b="0" i="0" u="none" strike="noStrike" baseline="0" dirty="0">
                <a:solidFill>
                  <a:srgbClr val="000000"/>
                </a:solidFill>
                <a:latin typeface="AdvOT46dcae81"/>
              </a:rPr>
              <a:t>), and independent self-help groups, like Nar-anon or Al-anon. In order to guide evidence-based health and social care policy provision for AFMs, the 5-Step Method should be compared to other psychosocial interventions in randomized controlled trials to examine the question of what works best for whom </a:t>
            </a:r>
            <a:r>
              <a:rPr lang="nl-NL" sz="1800" b="0" i="0" u="none" strike="noStrike" baseline="0" dirty="0" err="1">
                <a:solidFill>
                  <a:srgbClr val="000000"/>
                </a:solidFill>
                <a:latin typeface="AdvOT46dcae81"/>
              </a:rPr>
              <a:t>and</a:t>
            </a:r>
            <a:r>
              <a:rPr lang="nl-NL" sz="1800" b="0" i="0" u="none" strike="noStrike" baseline="0" dirty="0">
                <a:solidFill>
                  <a:srgbClr val="000000"/>
                </a:solidFill>
                <a:latin typeface="AdvOT46dcae81"/>
              </a:rPr>
              <a:t> </a:t>
            </a:r>
            <a:r>
              <a:rPr lang="nl-NL" sz="1800" b="0" i="0" u="none" strike="noStrike" baseline="0" dirty="0" err="1">
                <a:solidFill>
                  <a:srgbClr val="000000"/>
                </a:solidFill>
                <a:latin typeface="AdvOT46dcae81"/>
              </a:rPr>
              <a:t>why</a:t>
            </a:r>
            <a:r>
              <a:rPr lang="nl-NL" sz="1800" b="0" i="0" u="none" strike="noStrike" baseline="0" dirty="0">
                <a:solidFill>
                  <a:srgbClr val="000000"/>
                </a:solidFill>
                <a:latin typeface="AdvOT46dcae81"/>
              </a:rPr>
              <a:t>.</a:t>
            </a:r>
          </a:p>
          <a:p>
            <a:pPr algn="l"/>
            <a:endParaRPr lang="nl-NL" sz="1800" b="0" i="0" u="none" strike="noStrike" baseline="0" dirty="0">
              <a:solidFill>
                <a:srgbClr val="000000"/>
              </a:solidFill>
              <a:latin typeface="AdvOT46dcae81"/>
            </a:endParaRPr>
          </a:p>
          <a:p>
            <a:pPr algn="l"/>
            <a:r>
              <a:rPr lang="nl-NL" sz="1800" b="0" i="0" u="none" strike="noStrike" baseline="0" dirty="0" err="1">
                <a:latin typeface="AdvOT46dcae81"/>
              </a:rPr>
              <a:t>Furthermore</a:t>
            </a:r>
            <a:r>
              <a:rPr lang="nl-NL" sz="1800" b="0" i="0" u="none" strike="noStrike" baseline="0" dirty="0">
                <a:latin typeface="AdvOT46dcae81"/>
              </a:rPr>
              <a:t>, </a:t>
            </a:r>
            <a:r>
              <a:rPr lang="en-US" sz="1800" b="0" i="0" u="none" strike="noStrike" baseline="0" dirty="0">
                <a:latin typeface="AdvOT46dcae81"/>
              </a:rPr>
              <a:t>no lasting increase in Helpful Formal and Informal support was realized at three-month post intervention after completing </a:t>
            </a:r>
            <a:r>
              <a:rPr lang="nl-NL" sz="1800" b="0" i="0" u="none" strike="noStrike" baseline="0" dirty="0" err="1">
                <a:latin typeface="AdvOT46dcae81"/>
              </a:rPr>
              <a:t>the</a:t>
            </a:r>
            <a:r>
              <a:rPr lang="nl-NL" sz="1800" b="0" i="0" u="none" strike="noStrike" baseline="0" dirty="0">
                <a:latin typeface="AdvOT46dcae81"/>
              </a:rPr>
              <a:t> </a:t>
            </a:r>
            <a:r>
              <a:rPr lang="nl-NL" sz="1800" b="0" i="0" u="none" strike="noStrike" baseline="0" dirty="0" err="1">
                <a:latin typeface="AdvOT46dcae81"/>
              </a:rPr>
              <a:t>intervention</a:t>
            </a:r>
            <a:endParaRPr lang="nl-NL" dirty="0"/>
          </a:p>
        </p:txBody>
      </p:sp>
      <p:sp>
        <p:nvSpPr>
          <p:cNvPr id="4" name="Tijdelijke aanduiding voor dianummer 3"/>
          <p:cNvSpPr>
            <a:spLocks noGrp="1"/>
          </p:cNvSpPr>
          <p:nvPr>
            <p:ph type="sldNum" sz="quarter" idx="5"/>
          </p:nvPr>
        </p:nvSpPr>
        <p:spPr/>
        <p:txBody>
          <a:bodyPr/>
          <a:lstStyle/>
          <a:p>
            <a:fld id="{D47DA0C5-05A8-4BD4-BAEF-BF6B6E96BA7D}" type="slidenum">
              <a:rPr lang="en-GB" smtClean="0"/>
              <a:t>13</a:t>
            </a:fld>
            <a:endParaRPr lang="en-GB"/>
          </a:p>
        </p:txBody>
      </p:sp>
    </p:spTree>
    <p:extLst>
      <p:ext uri="{BB962C8B-B14F-4D97-AF65-F5344CB8AC3E}">
        <p14:creationId xmlns:p14="http://schemas.microsoft.com/office/powerpoint/2010/main" val="36289004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D47DA0C5-05A8-4BD4-BAEF-BF6B6E96BA7D}" type="slidenum">
              <a:rPr lang="en-GB" smtClean="0"/>
              <a:t>14</a:t>
            </a:fld>
            <a:endParaRPr lang="en-GB"/>
          </a:p>
        </p:txBody>
      </p:sp>
    </p:spTree>
    <p:extLst>
      <p:ext uri="{BB962C8B-B14F-4D97-AF65-F5344CB8AC3E}">
        <p14:creationId xmlns:p14="http://schemas.microsoft.com/office/powerpoint/2010/main" val="35144652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D47DA0C5-05A8-4BD4-BAEF-BF6B6E96BA7D}" type="slidenum">
              <a:rPr lang="en-GB" smtClean="0"/>
              <a:t>15</a:t>
            </a:fld>
            <a:endParaRPr lang="en-GB"/>
          </a:p>
        </p:txBody>
      </p:sp>
    </p:spTree>
    <p:extLst>
      <p:ext uri="{BB962C8B-B14F-4D97-AF65-F5344CB8AC3E}">
        <p14:creationId xmlns:p14="http://schemas.microsoft.com/office/powerpoint/2010/main" val="17807263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D47DA0C5-05A8-4BD4-BAEF-BF6B6E96BA7D}" type="slidenum">
              <a:rPr lang="en-GB" smtClean="0"/>
              <a:t>16</a:t>
            </a:fld>
            <a:endParaRPr lang="en-GB"/>
          </a:p>
        </p:txBody>
      </p:sp>
    </p:spTree>
    <p:extLst>
      <p:ext uri="{BB962C8B-B14F-4D97-AF65-F5344CB8AC3E}">
        <p14:creationId xmlns:p14="http://schemas.microsoft.com/office/powerpoint/2010/main" val="32453359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gn="l"/>
            <a:r>
              <a:rPr lang="nl-NL" sz="1800" b="0" i="0" u="none" strike="noStrike" baseline="0" dirty="0" err="1">
                <a:solidFill>
                  <a:srgbClr val="000000"/>
                </a:solidFill>
                <a:latin typeface="AdvOT46dcae81"/>
              </a:rPr>
              <a:t>Orford</a:t>
            </a:r>
            <a:r>
              <a:rPr lang="nl-NL" sz="1800" b="0" i="0" u="none" strike="noStrike" baseline="0" dirty="0">
                <a:solidFill>
                  <a:srgbClr val="000000"/>
                </a:solidFill>
                <a:latin typeface="AdvOT46dcae81"/>
              </a:rPr>
              <a:t> et al., </a:t>
            </a:r>
            <a:r>
              <a:rPr lang="nl-NL" sz="1800" b="0" i="0" u="none" strike="noStrike" baseline="0" dirty="0">
                <a:solidFill>
                  <a:srgbClr val="000081"/>
                </a:solidFill>
                <a:latin typeface="AdvOT46dcae81"/>
              </a:rPr>
              <a:t>2017</a:t>
            </a:r>
            <a:r>
              <a:rPr lang="nl-NL" sz="1800" b="0" i="0" u="none" strike="noStrike" baseline="0" dirty="0">
                <a:solidFill>
                  <a:srgbClr val="000000"/>
                </a:solidFill>
                <a:latin typeface="AdvOT46dcae81"/>
              </a:rPr>
              <a:t>).</a:t>
            </a:r>
            <a:endParaRPr lang="nl-NL" dirty="0"/>
          </a:p>
        </p:txBody>
      </p:sp>
      <p:sp>
        <p:nvSpPr>
          <p:cNvPr id="4" name="Tijdelijke aanduiding voor dianummer 3"/>
          <p:cNvSpPr>
            <a:spLocks noGrp="1"/>
          </p:cNvSpPr>
          <p:nvPr>
            <p:ph type="sldNum" sz="quarter" idx="5"/>
          </p:nvPr>
        </p:nvSpPr>
        <p:spPr/>
        <p:txBody>
          <a:bodyPr/>
          <a:lstStyle/>
          <a:p>
            <a:fld id="{D47DA0C5-05A8-4BD4-BAEF-BF6B6E96BA7D}" type="slidenum">
              <a:rPr lang="en-GB" smtClean="0"/>
              <a:t>17</a:t>
            </a:fld>
            <a:endParaRPr lang="en-GB"/>
          </a:p>
        </p:txBody>
      </p:sp>
    </p:spTree>
    <p:extLst>
      <p:ext uri="{BB962C8B-B14F-4D97-AF65-F5344CB8AC3E}">
        <p14:creationId xmlns:p14="http://schemas.microsoft.com/office/powerpoint/2010/main" val="2099190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latin typeface="MinionPro-Regular"/>
              </a:rPr>
              <a:t>Affected family members (AFMs) of people with alcohol, drugs, or gambling problems can experience </a:t>
            </a:r>
            <a:r>
              <a:rPr lang="en-US" sz="1800" dirty="0">
                <a:latin typeface="MinionPro-Regular"/>
              </a:rPr>
              <a:t>high levels of stress and strain. This strain and stres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latin typeface="MinionPro-Regular"/>
              </a:rPr>
              <a:t>Family members experience have been documented across different cultures. For example, Italy, Turkey, South Africa, Iceland, Belgium, South Australi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latin typeface="MinionPro-Regular"/>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latin typeface="MinionPro-Regular"/>
              </a:rPr>
              <a:t>Worldwide, estimates of people having alcohol, drugs, or gambling problems count up to about 300 million.</a:t>
            </a:r>
          </a:p>
          <a:p>
            <a:pPr algn="l"/>
            <a:endParaRPr lang="nl-NL" sz="1800" b="0" i="0" u="none" strike="noStrike" baseline="0" dirty="0">
              <a:solidFill>
                <a:srgbClr val="000000"/>
              </a:solidFill>
              <a:latin typeface="AdvOT46dcae81"/>
            </a:endParaRPr>
          </a:p>
          <a:p>
            <a:pPr algn="l"/>
            <a:r>
              <a:rPr lang="nl-NL" sz="1800" b="0" i="0" u="none" strike="noStrike" baseline="0" dirty="0">
                <a:solidFill>
                  <a:srgbClr val="000000"/>
                </a:solidFill>
                <a:latin typeface="AdvOT46dcae81"/>
              </a:rPr>
              <a:t>The </a:t>
            </a:r>
            <a:r>
              <a:rPr lang="nl-NL" sz="1800" b="0" i="0" u="none" strike="noStrike" baseline="0" dirty="0" err="1">
                <a:solidFill>
                  <a:srgbClr val="000000"/>
                </a:solidFill>
                <a:latin typeface="AdvOT46dcae81"/>
              </a:rPr>
              <a:t>aim</a:t>
            </a:r>
            <a:r>
              <a:rPr lang="nl-NL" sz="1800" b="0" i="0" u="none" strike="noStrike" baseline="0" dirty="0">
                <a:solidFill>
                  <a:srgbClr val="000000"/>
                </a:solidFill>
                <a:latin typeface="AdvOT46dcae81"/>
              </a:rPr>
              <a:t> of </a:t>
            </a:r>
            <a:r>
              <a:rPr lang="nl-NL" sz="1800" b="0" i="0" u="none" strike="noStrike" baseline="0" dirty="0" err="1">
                <a:solidFill>
                  <a:srgbClr val="000000"/>
                </a:solidFill>
                <a:latin typeface="AdvOT46dcae81"/>
              </a:rPr>
              <a:t>the</a:t>
            </a:r>
            <a:r>
              <a:rPr lang="nl-NL" sz="1800" b="0" i="0" u="none" strike="noStrike" baseline="0" dirty="0">
                <a:solidFill>
                  <a:srgbClr val="000000"/>
                </a:solidFill>
                <a:latin typeface="AdvOT46dcae81"/>
              </a:rPr>
              <a:t> 5-Step Method </a:t>
            </a:r>
            <a:r>
              <a:rPr lang="en-US" sz="1800" b="0" i="0" u="none" strike="noStrike" baseline="0" dirty="0">
                <a:solidFill>
                  <a:srgbClr val="000000"/>
                </a:solidFill>
                <a:latin typeface="AdvOT46dcae81"/>
              </a:rPr>
              <a:t>is to support and help the AFMs and reduce family burden. Moreover, the 5-Step Method primarily </a:t>
            </a:r>
            <a:r>
              <a:rPr lang="en-US" sz="1800" b="0" i="0" u="none" strike="noStrike" baseline="0" dirty="0">
                <a:latin typeface="AdvOT46dcae81"/>
              </a:rPr>
              <a:t>focuses on the needs of AFMs in their own right, when coping with a substance user or gambler within the family or close social proximity.</a:t>
            </a:r>
            <a:endParaRPr lang="nl-NL" sz="1800" b="0" i="0" u="none" strike="noStrike" baseline="0" dirty="0">
              <a:solidFill>
                <a:srgbClr val="000000"/>
              </a:solidFill>
              <a:latin typeface="AdvOT46dcae81"/>
            </a:endParaRPr>
          </a:p>
          <a:p>
            <a:pPr algn="l"/>
            <a:endParaRPr lang="nl-NL" sz="1800" b="0" i="0" u="none" strike="noStrike" baseline="0" dirty="0">
              <a:solidFill>
                <a:srgbClr val="000000"/>
              </a:solidFill>
              <a:latin typeface="AdvOT46dcae81"/>
            </a:endParaRPr>
          </a:p>
        </p:txBody>
      </p:sp>
      <p:sp>
        <p:nvSpPr>
          <p:cNvPr id="4" name="Tijdelijke aanduiding voor dianummer 3"/>
          <p:cNvSpPr>
            <a:spLocks noGrp="1"/>
          </p:cNvSpPr>
          <p:nvPr>
            <p:ph type="sldNum" sz="quarter" idx="5"/>
          </p:nvPr>
        </p:nvSpPr>
        <p:spPr/>
        <p:txBody>
          <a:bodyPr/>
          <a:lstStyle/>
          <a:p>
            <a:fld id="{D47DA0C5-05A8-4BD4-BAEF-BF6B6E96BA7D}" type="slidenum">
              <a:rPr lang="en-GB" smtClean="0"/>
              <a:t>2</a:t>
            </a:fld>
            <a:endParaRPr lang="en-GB"/>
          </a:p>
        </p:txBody>
      </p:sp>
    </p:spTree>
    <p:extLst>
      <p:ext uri="{BB962C8B-B14F-4D97-AF65-F5344CB8AC3E}">
        <p14:creationId xmlns:p14="http://schemas.microsoft.com/office/powerpoint/2010/main" val="30941843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sz="1200" dirty="0"/>
              <a:t>Five steps/ group sessions and one intake</a:t>
            </a:r>
          </a:p>
          <a:p>
            <a:endParaRPr lang="en-US" sz="1200" dirty="0"/>
          </a:p>
          <a:p>
            <a:r>
              <a:rPr lang="en-US" sz="1200" dirty="0"/>
              <a:t>Step 1: Listen, reassure and explore concerns</a:t>
            </a:r>
          </a:p>
          <a:p>
            <a:r>
              <a:rPr lang="en-US" sz="1200" dirty="0"/>
              <a:t>During step 1, family members are encouraged to reflect upon the </a:t>
            </a:r>
          </a:p>
          <a:p>
            <a:r>
              <a:rPr lang="en-US" sz="1200" dirty="0"/>
              <a:t>effect of living with a substance user on their physical and psychological health. In addition, family members are given the opportunity to share their </a:t>
            </a:r>
          </a:p>
          <a:p>
            <a:r>
              <a:rPr lang="en-US" sz="1200" dirty="0"/>
              <a:t>story and listen to the story of others</a:t>
            </a:r>
          </a:p>
          <a:p>
            <a:endParaRPr lang="en-US" sz="1200" dirty="0"/>
          </a:p>
          <a:p>
            <a:r>
              <a:rPr lang="en-US" sz="1200" dirty="0"/>
              <a:t>Step 2: Provide relevant, specific and targeted information</a:t>
            </a:r>
          </a:p>
          <a:p>
            <a:r>
              <a:rPr lang="en-US" sz="1200" dirty="0"/>
              <a:t>In step 2,  family members are encouraged to assemble all questions regarding addiction and other subjects related to the heavy substance user.</a:t>
            </a:r>
          </a:p>
          <a:p>
            <a:r>
              <a:rPr lang="en-US" sz="1200" dirty="0"/>
              <a:t>Afterwards, information or  sources to find information will be given to the family member in order to answer their questions</a:t>
            </a:r>
          </a:p>
          <a:p>
            <a:endParaRPr lang="en-US" sz="1200" dirty="0"/>
          </a:p>
          <a:p>
            <a:r>
              <a:rPr lang="en-US" sz="1200" dirty="0"/>
              <a:t>Step 3: Explore coping responses</a:t>
            </a:r>
          </a:p>
          <a:p>
            <a:r>
              <a:rPr lang="en-US" sz="1200" dirty="0"/>
              <a:t>During step 3 currents ways of coping with the heavy substance user are being explored and discussed by reflecting upon their advantages and </a:t>
            </a:r>
          </a:p>
          <a:p>
            <a:r>
              <a:rPr lang="en-US" sz="1200" dirty="0"/>
              <a:t>Disadvantages </a:t>
            </a:r>
          </a:p>
          <a:p>
            <a:endParaRPr lang="en-US" sz="1200" dirty="0"/>
          </a:p>
          <a:p>
            <a:r>
              <a:rPr lang="en-US" sz="1200" dirty="0"/>
              <a:t>Step 4: Discuss social support</a:t>
            </a:r>
          </a:p>
          <a:p>
            <a:r>
              <a:rPr lang="en-US" sz="1200" dirty="0"/>
              <a:t>In step 4, current social support experienced by the family member is being</a:t>
            </a:r>
          </a:p>
          <a:p>
            <a:r>
              <a:rPr lang="en-US" sz="1200" dirty="0"/>
              <a:t>Assessed. Family members are motivated to find new ways to get social support in line with their own needs. </a:t>
            </a:r>
          </a:p>
          <a:p>
            <a:endParaRPr lang="en-US" sz="1200" dirty="0"/>
          </a:p>
          <a:p>
            <a:r>
              <a:rPr lang="en-US" sz="1200" dirty="0"/>
              <a:t>Step 5: Discuss and explore further needs</a:t>
            </a:r>
          </a:p>
          <a:p>
            <a:r>
              <a:rPr lang="en-US" sz="1200" dirty="0"/>
              <a:t>And lastly, family members are given the opportunity to reflect whether </a:t>
            </a:r>
          </a:p>
          <a:p>
            <a:r>
              <a:rPr lang="en-US" sz="1200" dirty="0"/>
              <a:t>Additional help is required or not. </a:t>
            </a:r>
          </a:p>
          <a:p>
            <a:endParaRPr lang="nl-NL" dirty="0"/>
          </a:p>
        </p:txBody>
      </p:sp>
      <p:sp>
        <p:nvSpPr>
          <p:cNvPr id="4" name="Tijdelijke aanduiding voor dianummer 3"/>
          <p:cNvSpPr>
            <a:spLocks noGrp="1"/>
          </p:cNvSpPr>
          <p:nvPr>
            <p:ph type="sldNum" sz="quarter" idx="5"/>
          </p:nvPr>
        </p:nvSpPr>
        <p:spPr/>
        <p:txBody>
          <a:bodyPr/>
          <a:lstStyle/>
          <a:p>
            <a:fld id="{D47DA0C5-05A8-4BD4-BAEF-BF6B6E96BA7D}" type="slidenum">
              <a:rPr lang="en-GB" smtClean="0"/>
              <a:t>3</a:t>
            </a:fld>
            <a:endParaRPr lang="en-GB"/>
          </a:p>
        </p:txBody>
      </p:sp>
    </p:spTree>
    <p:extLst>
      <p:ext uri="{BB962C8B-B14F-4D97-AF65-F5344CB8AC3E}">
        <p14:creationId xmlns:p14="http://schemas.microsoft.com/office/powerpoint/2010/main" val="38638064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gn="l"/>
            <a:r>
              <a:rPr lang="nl-NL" sz="1800" b="0" i="0" u="none" strike="noStrike" baseline="0" dirty="0">
                <a:solidFill>
                  <a:srgbClr val="10157E"/>
                </a:solidFill>
                <a:latin typeface="AdvOT56309c18.I"/>
              </a:rPr>
              <a:t>The FMQ is a </a:t>
            </a:r>
            <a:r>
              <a:rPr lang="nl-NL" sz="1800" b="0" i="0" u="none" strike="noStrike" baseline="0" dirty="0" err="1">
                <a:solidFill>
                  <a:srgbClr val="10157E"/>
                </a:solidFill>
                <a:latin typeface="AdvOT56309c18.I"/>
              </a:rPr>
              <a:t>self</a:t>
            </a:r>
            <a:r>
              <a:rPr lang="nl-NL" sz="1800" b="0" i="0" u="none" strike="noStrike" baseline="0" dirty="0">
                <a:solidFill>
                  <a:srgbClr val="10157E"/>
                </a:solidFill>
                <a:latin typeface="AdvOT56309c18.I"/>
              </a:rPr>
              <a:t>-report questionnaire </a:t>
            </a:r>
            <a:r>
              <a:rPr lang="nl-NL" sz="1800" b="0" i="0" u="none" strike="noStrike" baseline="0" dirty="0" err="1">
                <a:solidFill>
                  <a:srgbClr val="10157E"/>
                </a:solidFill>
                <a:latin typeface="AdvOT56309c18.I"/>
              </a:rPr>
              <a:t>and</a:t>
            </a:r>
            <a:r>
              <a:rPr lang="nl-NL" sz="1800" b="0" i="0" u="none" strike="noStrike" baseline="0" dirty="0">
                <a:solidFill>
                  <a:srgbClr val="10157E"/>
                </a:solidFill>
                <a:latin typeface="AdvOT56309c18.I"/>
              </a:rPr>
              <a:t> </a:t>
            </a:r>
            <a:r>
              <a:rPr lang="nl-NL" sz="1800" b="0" i="0" u="none" strike="noStrike" baseline="0" dirty="0" err="1">
                <a:solidFill>
                  <a:srgbClr val="10157E"/>
                </a:solidFill>
                <a:latin typeface="AdvOT56309c18.I"/>
              </a:rPr>
              <a:t>consists</a:t>
            </a:r>
            <a:r>
              <a:rPr lang="nl-NL" sz="1800" b="0" i="0" u="none" strike="noStrike" baseline="0" dirty="0">
                <a:solidFill>
                  <a:srgbClr val="10157E"/>
                </a:solidFill>
                <a:latin typeface="AdvOT56309c18.I"/>
              </a:rPr>
              <a:t> of 33-items. It </a:t>
            </a:r>
            <a:r>
              <a:rPr lang="nl-NL" sz="1800" b="0" i="0" u="none" strike="noStrike" baseline="0" dirty="0" err="1">
                <a:solidFill>
                  <a:srgbClr val="10157E"/>
                </a:solidFill>
                <a:latin typeface="AdvOT56309c18.I"/>
              </a:rPr>
              <a:t>measures</a:t>
            </a:r>
            <a:r>
              <a:rPr lang="nl-NL" sz="1800" b="0" i="0" u="none" strike="noStrike" baseline="0" dirty="0">
                <a:solidFill>
                  <a:srgbClr val="10157E"/>
                </a:solidFill>
                <a:latin typeface="AdvOT56309c18.I"/>
              </a:rPr>
              <a:t> </a:t>
            </a:r>
            <a:r>
              <a:rPr lang="nl-NL" sz="1800" b="0" i="0" u="none" strike="noStrike" baseline="0" dirty="0" err="1">
                <a:solidFill>
                  <a:srgbClr val="10157E"/>
                </a:solidFill>
                <a:latin typeface="AdvOT56309c18.I"/>
              </a:rPr>
              <a:t>the</a:t>
            </a:r>
            <a:r>
              <a:rPr lang="nl-NL" sz="1800" b="0" i="0" u="none" strike="noStrike" baseline="0" dirty="0">
                <a:solidFill>
                  <a:srgbClr val="10157E"/>
                </a:solidFill>
                <a:latin typeface="AdvOT56309c18.I"/>
              </a:rPr>
              <a:t> </a:t>
            </a:r>
            <a:r>
              <a:rPr lang="nl-NL" sz="1800" b="0" i="0" u="none" strike="noStrike" baseline="0" dirty="0" err="1">
                <a:solidFill>
                  <a:srgbClr val="10157E"/>
                </a:solidFill>
                <a:latin typeface="AdvOT56309c18.I"/>
              </a:rPr>
              <a:t>experienced</a:t>
            </a:r>
            <a:r>
              <a:rPr lang="nl-NL" sz="1800" b="0" i="0" u="none" strike="noStrike" baseline="0" dirty="0">
                <a:solidFill>
                  <a:srgbClr val="10157E"/>
                </a:solidFill>
                <a:latin typeface="AdvOT56309c18.I"/>
              </a:rPr>
              <a:t> impact, </a:t>
            </a:r>
            <a:r>
              <a:rPr lang="nl-NL" sz="1800" b="0" i="0" u="none" strike="noStrike" baseline="0" dirty="0" err="1">
                <a:solidFill>
                  <a:srgbClr val="10157E"/>
                </a:solidFill>
                <a:latin typeface="AdvOT56309c18.I"/>
              </a:rPr>
              <a:t>experienced</a:t>
            </a:r>
            <a:r>
              <a:rPr lang="nl-NL" sz="1800" b="0" i="0" u="none" strike="noStrike" baseline="0" dirty="0">
                <a:solidFill>
                  <a:srgbClr val="10157E"/>
                </a:solidFill>
                <a:latin typeface="AdvOT56309c18.I"/>
              </a:rPr>
              <a:t> </a:t>
            </a:r>
            <a:r>
              <a:rPr lang="nl-NL" sz="1800" b="0" i="0" u="none" strike="noStrike" baseline="0" dirty="0" err="1">
                <a:solidFill>
                  <a:srgbClr val="10157E"/>
                </a:solidFill>
                <a:latin typeface="AdvOT56309c18.I"/>
              </a:rPr>
              <a:t>symptoms</a:t>
            </a:r>
            <a:r>
              <a:rPr lang="nl-NL" sz="1800" b="0" i="0" u="none" strike="noStrike" baseline="0" dirty="0">
                <a:solidFill>
                  <a:srgbClr val="10157E"/>
                </a:solidFill>
                <a:latin typeface="AdvOT56309c18.I"/>
              </a:rPr>
              <a:t>, coping </a:t>
            </a:r>
            <a:r>
              <a:rPr lang="nl-NL" sz="1800" b="0" i="0" u="none" strike="noStrike" baseline="0" dirty="0" err="1">
                <a:solidFill>
                  <a:srgbClr val="10157E"/>
                </a:solidFill>
                <a:latin typeface="AdvOT56309c18.I"/>
              </a:rPr>
              <a:t>styles</a:t>
            </a:r>
            <a:r>
              <a:rPr lang="nl-NL" sz="1800" b="0" i="0" u="none" strike="noStrike" baseline="0" dirty="0">
                <a:solidFill>
                  <a:srgbClr val="10157E"/>
                </a:solidFill>
                <a:latin typeface="AdvOT56309c18.I"/>
              </a:rPr>
              <a:t> </a:t>
            </a:r>
            <a:r>
              <a:rPr lang="nl-NL" sz="1800" b="0" i="0" u="none" strike="noStrike" baseline="0" dirty="0" err="1">
                <a:solidFill>
                  <a:srgbClr val="10157E"/>
                </a:solidFill>
                <a:latin typeface="AdvOT56309c18.I"/>
              </a:rPr>
              <a:t>and</a:t>
            </a:r>
            <a:r>
              <a:rPr lang="nl-NL" sz="1800" b="0" i="0" u="none" strike="noStrike" baseline="0" dirty="0">
                <a:solidFill>
                  <a:srgbClr val="10157E"/>
                </a:solidFill>
                <a:latin typeface="AdvOT56309c18.I"/>
              </a:rPr>
              <a:t> </a:t>
            </a:r>
            <a:r>
              <a:rPr lang="nl-NL" sz="1800" b="0" i="0" u="none" strike="noStrike" baseline="0" dirty="0" err="1">
                <a:solidFill>
                  <a:srgbClr val="10157E"/>
                </a:solidFill>
                <a:latin typeface="AdvOT56309c18.I"/>
              </a:rPr>
              <a:t>degree</a:t>
            </a:r>
            <a:r>
              <a:rPr lang="nl-NL" sz="1800" b="0" i="0" u="none" strike="noStrike" baseline="0" dirty="0">
                <a:solidFill>
                  <a:srgbClr val="10157E"/>
                </a:solidFill>
                <a:latin typeface="AdvOT56309c18.I"/>
              </a:rPr>
              <a:t> of </a:t>
            </a:r>
            <a:r>
              <a:rPr lang="nl-NL" sz="1800" b="0" i="0" u="none" strike="noStrike" baseline="0" dirty="0" err="1">
                <a:solidFill>
                  <a:srgbClr val="10157E"/>
                </a:solidFill>
                <a:latin typeface="AdvOT56309c18.I"/>
              </a:rPr>
              <a:t>experienced</a:t>
            </a:r>
            <a:r>
              <a:rPr lang="nl-NL" sz="1800" b="0" i="0" u="none" strike="noStrike" baseline="0" dirty="0">
                <a:solidFill>
                  <a:srgbClr val="10157E"/>
                </a:solidFill>
                <a:latin typeface="AdvOT56309c18.I"/>
              </a:rPr>
              <a:t> </a:t>
            </a:r>
            <a:r>
              <a:rPr lang="nl-NL" sz="1800" b="0" i="0" u="none" strike="noStrike" baseline="0" dirty="0" err="1">
                <a:solidFill>
                  <a:srgbClr val="10157E"/>
                </a:solidFill>
                <a:latin typeface="AdvOT56309c18.I"/>
              </a:rPr>
              <a:t>social</a:t>
            </a:r>
            <a:r>
              <a:rPr lang="nl-NL" sz="1800" b="0" i="0" u="none" strike="noStrike" baseline="0" dirty="0">
                <a:solidFill>
                  <a:srgbClr val="10157E"/>
                </a:solidFill>
                <a:latin typeface="AdvOT56309c18.I"/>
              </a:rPr>
              <a:t> support</a:t>
            </a:r>
          </a:p>
          <a:p>
            <a:pPr algn="l"/>
            <a:endParaRPr lang="nl-NL" sz="1800" b="0" i="0" u="none" strike="noStrike" baseline="0" dirty="0">
              <a:solidFill>
                <a:srgbClr val="10157E"/>
              </a:solidFill>
              <a:latin typeface="AdvOT56309c18.I"/>
            </a:endParaRPr>
          </a:p>
          <a:p>
            <a:pPr algn="l"/>
            <a:endParaRPr lang="nl-NL" sz="1800" b="0" i="0" u="none" strike="noStrike" baseline="0" dirty="0">
              <a:solidFill>
                <a:srgbClr val="10157E"/>
              </a:solidFill>
              <a:latin typeface="AdvOT56309c18.I"/>
            </a:endParaRPr>
          </a:p>
          <a:p>
            <a:pPr algn="l"/>
            <a:r>
              <a:rPr lang="nl-NL" sz="1800" b="0" i="0" u="none" strike="noStrike" baseline="0" dirty="0">
                <a:solidFill>
                  <a:srgbClr val="10157E"/>
                </a:solidFill>
                <a:latin typeface="AdvOT56309c18.I"/>
              </a:rPr>
              <a:t>Total family </a:t>
            </a:r>
            <a:r>
              <a:rPr lang="nl-NL" sz="1800" b="0" i="0" u="none" strike="noStrike" baseline="0" dirty="0" err="1">
                <a:solidFill>
                  <a:srgbClr val="10157E"/>
                </a:solidFill>
                <a:latin typeface="AdvOT56309c18.I"/>
              </a:rPr>
              <a:t>burden</a:t>
            </a:r>
            <a:endParaRPr lang="nl-NL" sz="1800" b="0" i="0" u="none" strike="noStrike" baseline="0" dirty="0">
              <a:solidFill>
                <a:srgbClr val="10157E"/>
              </a:solidFill>
              <a:latin typeface="AdvOT56309c18.I"/>
            </a:endParaRPr>
          </a:p>
          <a:p>
            <a:pPr algn="l"/>
            <a:r>
              <a:rPr lang="en-US" sz="1800" b="0" i="0" u="none" strike="noStrike" baseline="0" dirty="0">
                <a:solidFill>
                  <a:srgbClr val="000000"/>
                </a:solidFill>
                <a:latin typeface="AdvOT46dcae81"/>
              </a:rPr>
              <a:t>The Total Family Burden scale measures the degree of burden experienced</a:t>
            </a:r>
          </a:p>
          <a:p>
            <a:pPr algn="l"/>
            <a:r>
              <a:rPr lang="en-US" sz="1800" b="0" i="0" u="none" strike="noStrike" baseline="0" dirty="0">
                <a:solidFill>
                  <a:srgbClr val="000000"/>
                </a:solidFill>
                <a:latin typeface="AdvOT46dcae81"/>
              </a:rPr>
              <a:t>by the family member and is the main outcome variable of this</a:t>
            </a:r>
          </a:p>
          <a:p>
            <a:pPr algn="l"/>
            <a:r>
              <a:rPr lang="en-US" sz="1800" b="0" i="0" u="none" strike="noStrike" baseline="0" dirty="0">
                <a:solidFill>
                  <a:srgbClr val="000000"/>
                </a:solidFill>
                <a:latin typeface="AdvOT46dcae81"/>
              </a:rPr>
              <a:t>evaluation study. Total Family Burden is calculated by adding up the</a:t>
            </a:r>
          </a:p>
          <a:p>
            <a:pPr algn="l"/>
            <a:r>
              <a:rPr lang="en-US" sz="1800" b="0" i="0" u="none" strike="noStrike" baseline="0" dirty="0">
                <a:solidFill>
                  <a:srgbClr val="000000"/>
                </a:solidFill>
                <a:latin typeface="AdvOT46dcae81"/>
              </a:rPr>
              <a:t>scores of the Total Impact Scale, the Total Symptoms Scale, Engaged-</a:t>
            </a:r>
          </a:p>
          <a:p>
            <a:pPr algn="l"/>
            <a:r>
              <a:rPr lang="en-US" sz="1800" b="0" i="0" u="none" strike="noStrike" baseline="0" dirty="0">
                <a:solidFill>
                  <a:srgbClr val="000000"/>
                </a:solidFill>
                <a:latin typeface="AdvOT46dcae81"/>
              </a:rPr>
              <a:t>Emotional Coping and Tolerant-Inactive Coping (</a:t>
            </a:r>
            <a:r>
              <a:rPr lang="en-US" sz="1800" b="0" i="0" u="none" strike="noStrike" baseline="0" dirty="0" err="1">
                <a:solidFill>
                  <a:srgbClr val="000000"/>
                </a:solidFill>
                <a:latin typeface="AdvOT46dcae81"/>
              </a:rPr>
              <a:t>Orford</a:t>
            </a:r>
            <a:r>
              <a:rPr lang="en-US" sz="1800" b="0" i="0" u="none" strike="noStrike" baseline="0" dirty="0">
                <a:solidFill>
                  <a:srgbClr val="000000"/>
                </a:solidFill>
                <a:latin typeface="AdvOT46dcae81"/>
              </a:rPr>
              <a:t> et al., </a:t>
            </a:r>
            <a:r>
              <a:rPr lang="en-US" sz="1800" b="0" i="0" u="none" strike="noStrike" baseline="0" dirty="0">
                <a:solidFill>
                  <a:srgbClr val="000081"/>
                </a:solidFill>
                <a:latin typeface="AdvOT46dcae81"/>
              </a:rPr>
              <a:t>2017</a:t>
            </a:r>
            <a:r>
              <a:rPr lang="en-US" sz="1800" b="0" i="0" u="none" strike="noStrike" baseline="0" dirty="0">
                <a:solidFill>
                  <a:srgbClr val="000000"/>
                </a:solidFill>
                <a:latin typeface="AdvOT46dcae81"/>
              </a:rPr>
              <a:t>,</a:t>
            </a:r>
          </a:p>
          <a:p>
            <a:pPr algn="l"/>
            <a:r>
              <a:rPr lang="nl-NL" sz="1800" b="0" i="0" u="none" strike="noStrike" baseline="0" dirty="0">
                <a:solidFill>
                  <a:srgbClr val="000000"/>
                </a:solidFill>
                <a:latin typeface="AdvOT46dcae81"/>
              </a:rPr>
              <a:t>p. 264).</a:t>
            </a:r>
            <a:endParaRPr lang="nl-NL" dirty="0"/>
          </a:p>
        </p:txBody>
      </p:sp>
      <p:sp>
        <p:nvSpPr>
          <p:cNvPr id="4" name="Tijdelijke aanduiding voor dianummer 3"/>
          <p:cNvSpPr>
            <a:spLocks noGrp="1"/>
          </p:cNvSpPr>
          <p:nvPr>
            <p:ph type="sldNum" sz="quarter" idx="5"/>
          </p:nvPr>
        </p:nvSpPr>
        <p:spPr/>
        <p:txBody>
          <a:bodyPr/>
          <a:lstStyle/>
          <a:p>
            <a:fld id="{D47DA0C5-05A8-4BD4-BAEF-BF6B6E96BA7D}" type="slidenum">
              <a:rPr lang="en-GB" smtClean="0"/>
              <a:t>4</a:t>
            </a:fld>
            <a:endParaRPr lang="en-GB"/>
          </a:p>
        </p:txBody>
      </p:sp>
    </p:spTree>
    <p:extLst>
      <p:ext uri="{BB962C8B-B14F-4D97-AF65-F5344CB8AC3E}">
        <p14:creationId xmlns:p14="http://schemas.microsoft.com/office/powerpoint/2010/main" val="40580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err="1"/>
              <a:t>Addittionally</a:t>
            </a:r>
            <a:r>
              <a:rPr lang="nl-NL" dirty="0"/>
              <a:t>, </a:t>
            </a:r>
            <a:r>
              <a:rPr lang="nl-NL" dirty="0" err="1"/>
              <a:t>to</a:t>
            </a:r>
            <a:r>
              <a:rPr lang="nl-NL" dirty="0"/>
              <a:t> </a:t>
            </a:r>
            <a:r>
              <a:rPr lang="nl-NL" dirty="0" err="1"/>
              <a:t>about</a:t>
            </a:r>
            <a:r>
              <a:rPr lang="nl-NL" dirty="0"/>
              <a:t> half of </a:t>
            </a:r>
            <a:r>
              <a:rPr lang="nl-NL" dirty="0" err="1"/>
              <a:t>the</a:t>
            </a:r>
            <a:r>
              <a:rPr lang="nl-NL" dirty="0"/>
              <a:t> </a:t>
            </a:r>
            <a:r>
              <a:rPr lang="nl-NL" dirty="0" err="1"/>
              <a:t>participants</a:t>
            </a:r>
            <a:r>
              <a:rPr lang="nl-NL" dirty="0"/>
              <a:t> </a:t>
            </a:r>
            <a:r>
              <a:rPr lang="nl-NL" dirty="0" err="1"/>
              <a:t>the</a:t>
            </a:r>
            <a:r>
              <a:rPr lang="nl-NL" dirty="0"/>
              <a:t> </a:t>
            </a:r>
            <a:r>
              <a:rPr lang="nl-NL" dirty="0" err="1"/>
              <a:t>intervention</a:t>
            </a:r>
            <a:r>
              <a:rPr lang="nl-NL" dirty="0"/>
              <a:t> was </a:t>
            </a:r>
            <a:r>
              <a:rPr lang="nl-NL" dirty="0" err="1"/>
              <a:t>delivered</a:t>
            </a:r>
            <a:r>
              <a:rPr lang="nl-NL" dirty="0"/>
              <a:t> </a:t>
            </a:r>
            <a:r>
              <a:rPr lang="nl-NL" dirty="0" err="1"/>
              <a:t>through</a:t>
            </a:r>
            <a:r>
              <a:rPr lang="nl-NL" dirty="0"/>
              <a:t> video-</a:t>
            </a:r>
            <a:r>
              <a:rPr lang="nl-NL" dirty="0" err="1"/>
              <a:t>conferencing</a:t>
            </a:r>
            <a:r>
              <a:rPr lang="nl-NL" dirty="0"/>
              <a:t>. </a:t>
            </a:r>
            <a:r>
              <a:rPr lang="nl-NL" dirty="0" err="1"/>
              <a:t>This</a:t>
            </a:r>
            <a:r>
              <a:rPr lang="nl-NL" dirty="0"/>
              <a:t> was </a:t>
            </a:r>
            <a:r>
              <a:rPr lang="nl-NL" dirty="0" err="1"/>
              <a:t>not</a:t>
            </a:r>
            <a:r>
              <a:rPr lang="nl-NL" dirty="0"/>
              <a:t> </a:t>
            </a:r>
            <a:r>
              <a:rPr lang="nl-NL" dirty="0" err="1"/>
              <a:t>an</a:t>
            </a:r>
            <a:r>
              <a:rPr lang="nl-NL" dirty="0"/>
              <a:t> </a:t>
            </a:r>
            <a:r>
              <a:rPr lang="nl-NL" dirty="0" err="1"/>
              <a:t>intentional</a:t>
            </a:r>
            <a:r>
              <a:rPr lang="nl-NL" dirty="0"/>
              <a:t> treatment </a:t>
            </a:r>
            <a:r>
              <a:rPr lang="nl-NL" dirty="0" err="1"/>
              <a:t>condition</a:t>
            </a:r>
            <a:r>
              <a:rPr lang="nl-NL" dirty="0"/>
              <a:t>. </a:t>
            </a:r>
            <a:r>
              <a:rPr lang="nl-NL" dirty="0" err="1"/>
              <a:t>Due</a:t>
            </a:r>
            <a:r>
              <a:rPr lang="nl-NL" dirty="0"/>
              <a:t> </a:t>
            </a:r>
            <a:r>
              <a:rPr lang="nl-NL" dirty="0" err="1"/>
              <a:t>to</a:t>
            </a:r>
            <a:r>
              <a:rPr lang="nl-NL" dirty="0"/>
              <a:t> COVID-19 </a:t>
            </a:r>
            <a:r>
              <a:rPr lang="nl-NL" dirty="0" err="1"/>
              <a:t>measures</a:t>
            </a:r>
            <a:r>
              <a:rPr lang="nl-NL" dirty="0"/>
              <a:t> </a:t>
            </a:r>
            <a:r>
              <a:rPr lang="nl-NL" dirty="0" err="1"/>
              <a:t>the</a:t>
            </a:r>
            <a:r>
              <a:rPr lang="nl-NL" dirty="0"/>
              <a:t> </a:t>
            </a:r>
            <a:r>
              <a:rPr lang="nl-NL" dirty="0" err="1"/>
              <a:t>intervention</a:t>
            </a:r>
            <a:r>
              <a:rPr lang="nl-NL" dirty="0"/>
              <a:t> program was </a:t>
            </a:r>
            <a:r>
              <a:rPr lang="nl-NL" dirty="0" err="1"/>
              <a:t>switched</a:t>
            </a:r>
            <a:r>
              <a:rPr lang="nl-NL" dirty="0"/>
              <a:t> </a:t>
            </a:r>
            <a:r>
              <a:rPr lang="nl-NL" dirty="0" err="1"/>
              <a:t>to</a:t>
            </a:r>
            <a:r>
              <a:rPr lang="nl-NL" dirty="0"/>
              <a:t> online setting. </a:t>
            </a:r>
            <a:r>
              <a:rPr lang="nl-NL" dirty="0" err="1"/>
              <a:t>During</a:t>
            </a:r>
            <a:r>
              <a:rPr lang="nl-NL" dirty="0"/>
              <a:t> </a:t>
            </a:r>
            <a:r>
              <a:rPr lang="nl-NL" dirty="0" err="1"/>
              <a:t>this</a:t>
            </a:r>
            <a:r>
              <a:rPr lang="nl-NL" dirty="0"/>
              <a:t> </a:t>
            </a:r>
            <a:r>
              <a:rPr lang="nl-NL" dirty="0" err="1"/>
              <a:t>period</a:t>
            </a:r>
            <a:r>
              <a:rPr lang="nl-NL" dirty="0"/>
              <a:t> </a:t>
            </a:r>
            <a:r>
              <a:rPr lang="nl-NL" dirty="0" err="1"/>
              <a:t>the</a:t>
            </a:r>
            <a:r>
              <a:rPr lang="nl-NL" dirty="0"/>
              <a:t> data </a:t>
            </a:r>
            <a:r>
              <a:rPr lang="nl-NL" dirty="0" err="1"/>
              <a:t>collection</a:t>
            </a:r>
            <a:r>
              <a:rPr lang="nl-NL" dirty="0"/>
              <a:t> procedure was </a:t>
            </a:r>
            <a:r>
              <a:rPr lang="nl-NL" dirty="0" err="1"/>
              <a:t>still</a:t>
            </a:r>
            <a:r>
              <a:rPr lang="nl-NL" dirty="0"/>
              <a:t> </a:t>
            </a:r>
            <a:r>
              <a:rPr lang="nl-NL" dirty="0" err="1"/>
              <a:t>carrying</a:t>
            </a:r>
            <a:r>
              <a:rPr lang="nl-NL" dirty="0"/>
              <a:t>-on. </a:t>
            </a:r>
          </a:p>
        </p:txBody>
      </p:sp>
      <p:sp>
        <p:nvSpPr>
          <p:cNvPr id="4" name="Tijdelijke aanduiding voor dianummer 3"/>
          <p:cNvSpPr>
            <a:spLocks noGrp="1"/>
          </p:cNvSpPr>
          <p:nvPr>
            <p:ph type="sldNum" sz="quarter" idx="5"/>
          </p:nvPr>
        </p:nvSpPr>
        <p:spPr/>
        <p:txBody>
          <a:bodyPr/>
          <a:lstStyle/>
          <a:p>
            <a:fld id="{D47DA0C5-05A8-4BD4-BAEF-BF6B6E96BA7D}" type="slidenum">
              <a:rPr lang="en-GB" smtClean="0"/>
              <a:t>5</a:t>
            </a:fld>
            <a:endParaRPr lang="en-GB"/>
          </a:p>
        </p:txBody>
      </p:sp>
    </p:spTree>
    <p:extLst>
      <p:ext uri="{BB962C8B-B14F-4D97-AF65-F5344CB8AC3E}">
        <p14:creationId xmlns:p14="http://schemas.microsoft.com/office/powerpoint/2010/main" val="39312808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D47DA0C5-05A8-4BD4-BAEF-BF6B6E96BA7D}" type="slidenum">
              <a:rPr lang="en-GB" smtClean="0"/>
              <a:t>6</a:t>
            </a:fld>
            <a:endParaRPr lang="en-GB"/>
          </a:p>
        </p:txBody>
      </p:sp>
    </p:spTree>
    <p:extLst>
      <p:ext uri="{BB962C8B-B14F-4D97-AF65-F5344CB8AC3E}">
        <p14:creationId xmlns:p14="http://schemas.microsoft.com/office/powerpoint/2010/main" val="13148435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p:txBody>
      </p:sp>
      <p:sp>
        <p:nvSpPr>
          <p:cNvPr id="4" name="Tijdelijke aanduiding voor dianummer 3"/>
          <p:cNvSpPr>
            <a:spLocks noGrp="1"/>
          </p:cNvSpPr>
          <p:nvPr>
            <p:ph type="sldNum" sz="quarter" idx="5"/>
          </p:nvPr>
        </p:nvSpPr>
        <p:spPr/>
        <p:txBody>
          <a:bodyPr/>
          <a:lstStyle/>
          <a:p>
            <a:fld id="{D47DA0C5-05A8-4BD4-BAEF-BF6B6E96BA7D}" type="slidenum">
              <a:rPr lang="en-GB" smtClean="0"/>
              <a:t>7</a:t>
            </a:fld>
            <a:endParaRPr lang="en-GB"/>
          </a:p>
        </p:txBody>
      </p:sp>
    </p:spTree>
    <p:extLst>
      <p:ext uri="{BB962C8B-B14F-4D97-AF65-F5344CB8AC3E}">
        <p14:creationId xmlns:p14="http://schemas.microsoft.com/office/powerpoint/2010/main" val="19712632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err="1"/>
              <a:t>Simular</a:t>
            </a:r>
            <a:r>
              <a:rPr lang="nl-NL" dirty="0"/>
              <a:t> </a:t>
            </a:r>
            <a:r>
              <a:rPr lang="nl-NL" dirty="0" err="1"/>
              <a:t>outcome</a:t>
            </a:r>
            <a:r>
              <a:rPr lang="nl-NL" dirty="0"/>
              <a:t> scores </a:t>
            </a:r>
            <a:r>
              <a:rPr lang="nl-NL" dirty="0" err="1"/>
              <a:t>were</a:t>
            </a:r>
            <a:r>
              <a:rPr lang="nl-NL" dirty="0"/>
              <a:t> found </a:t>
            </a:r>
            <a:r>
              <a:rPr lang="nl-NL" dirty="0" err="1"/>
              <a:t>for</a:t>
            </a:r>
            <a:r>
              <a:rPr lang="nl-NL" dirty="0"/>
              <a:t> </a:t>
            </a:r>
            <a:r>
              <a:rPr lang="nl-NL" dirty="0" err="1"/>
              <a:t>the</a:t>
            </a:r>
            <a:r>
              <a:rPr lang="nl-NL" dirty="0"/>
              <a:t> N = 102 sample, </a:t>
            </a:r>
            <a:r>
              <a:rPr lang="nl-NL" dirty="0" err="1"/>
              <a:t>when</a:t>
            </a:r>
            <a:r>
              <a:rPr lang="nl-NL" dirty="0"/>
              <a:t> </a:t>
            </a:r>
            <a:r>
              <a:rPr lang="nl-NL" dirty="0" err="1"/>
              <a:t>comparing</a:t>
            </a:r>
            <a:r>
              <a:rPr lang="nl-NL" dirty="0"/>
              <a:t> </a:t>
            </a:r>
            <a:r>
              <a:rPr lang="nl-NL" dirty="0" err="1"/>
              <a:t>only</a:t>
            </a:r>
            <a:r>
              <a:rPr lang="nl-NL" dirty="0"/>
              <a:t> baseline </a:t>
            </a:r>
            <a:r>
              <a:rPr lang="nl-NL" dirty="0" err="1"/>
              <a:t>measurements</a:t>
            </a:r>
            <a:r>
              <a:rPr lang="nl-NL" dirty="0"/>
              <a:t> </a:t>
            </a:r>
            <a:r>
              <a:rPr lang="nl-NL" dirty="0" err="1"/>
              <a:t>and</a:t>
            </a:r>
            <a:r>
              <a:rPr lang="nl-NL" dirty="0"/>
              <a:t> end-of-treatment </a:t>
            </a:r>
            <a:r>
              <a:rPr lang="nl-NL" dirty="0" err="1"/>
              <a:t>measurements</a:t>
            </a:r>
            <a:r>
              <a:rPr lang="nl-NL"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ITT analysis </a:t>
            </a:r>
            <a:r>
              <a:rPr lang="nl-NL" dirty="0" err="1"/>
              <a:t>also</a:t>
            </a:r>
            <a:r>
              <a:rPr lang="nl-NL" dirty="0"/>
              <a:t> </a:t>
            </a:r>
            <a:r>
              <a:rPr lang="nl-NL" dirty="0" err="1"/>
              <a:t>showcased</a:t>
            </a:r>
            <a:r>
              <a:rPr lang="nl-NL" dirty="0"/>
              <a:t> significant </a:t>
            </a:r>
            <a:r>
              <a:rPr lang="nl-NL" dirty="0" err="1"/>
              <a:t>reduction</a:t>
            </a:r>
            <a:r>
              <a:rPr lang="nl-NL" dirty="0"/>
              <a:t> in Total Family </a:t>
            </a:r>
            <a:r>
              <a:rPr lang="nl-NL" dirty="0" err="1"/>
              <a:t>Burden</a:t>
            </a:r>
            <a:r>
              <a:rPr lang="nl-NL" dirty="0"/>
              <a:t> at end-of-treatment </a:t>
            </a:r>
            <a:r>
              <a:rPr lang="nl-NL" dirty="0" err="1"/>
              <a:t>and</a:t>
            </a:r>
            <a:r>
              <a:rPr lang="nl-NL" dirty="0"/>
              <a:t> 3-month follow-up</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 online </a:t>
            </a:r>
            <a:r>
              <a:rPr lang="nl-NL" dirty="0" err="1"/>
              <a:t>vs</a:t>
            </a:r>
            <a:r>
              <a:rPr lang="nl-NL" dirty="0"/>
              <a:t> face </a:t>
            </a:r>
            <a:r>
              <a:rPr lang="nl-NL" dirty="0" err="1"/>
              <a:t>to</a:t>
            </a:r>
            <a:r>
              <a:rPr lang="nl-NL" dirty="0"/>
              <a:t> fac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nl-NL" dirty="0"/>
              <a:t>ITT analysis </a:t>
            </a:r>
            <a:r>
              <a:rPr lang="nl-NL" dirty="0" err="1"/>
              <a:t>not</a:t>
            </a:r>
            <a:r>
              <a:rPr lang="nl-NL" dirty="0"/>
              <a:t> significan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nl-NL" dirty="0"/>
              <a:t>Pre </a:t>
            </a:r>
            <a:r>
              <a:rPr lang="nl-NL" dirty="0" err="1"/>
              <a:t>vs</a:t>
            </a:r>
            <a:r>
              <a:rPr lang="nl-NL" dirty="0"/>
              <a:t> post </a:t>
            </a:r>
            <a:r>
              <a:rPr lang="nl-NL" dirty="0" err="1"/>
              <a:t>not</a:t>
            </a:r>
            <a:r>
              <a:rPr lang="nl-NL" dirty="0"/>
              <a:t> significant</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nl-NL" dirty="0"/>
          </a:p>
          <a:p>
            <a:pPr algn="l"/>
            <a:r>
              <a:rPr lang="en-US" sz="1800" b="0" i="0" u="none" strike="noStrike" baseline="0" dirty="0">
                <a:latin typeface="AdvOT46dcae81"/>
              </a:rPr>
              <a:t>Finally, no significant differences in drop-out rates were found between participants following the intervention via</a:t>
            </a:r>
          </a:p>
          <a:p>
            <a:pPr algn="l"/>
            <a:r>
              <a:rPr lang="en-US" sz="1800" b="0" i="0" u="none" strike="noStrike" baseline="0" dirty="0">
                <a:latin typeface="AdvOT46dcae81"/>
              </a:rPr>
              <a:t>video-conferencing and participants following the intervention </a:t>
            </a:r>
            <a:r>
              <a:rPr lang="nl-NL" sz="1800" b="0" i="0" u="none" strike="noStrike" baseline="0" dirty="0">
                <a:latin typeface="AdvOT46dcae81"/>
              </a:rPr>
              <a:t>face-</a:t>
            </a:r>
            <a:r>
              <a:rPr lang="nl-NL" sz="1800" b="0" i="0" u="none" strike="noStrike" baseline="0" dirty="0" err="1">
                <a:latin typeface="AdvOT46dcae81"/>
              </a:rPr>
              <a:t>to</a:t>
            </a:r>
            <a:r>
              <a:rPr lang="nl-NL" sz="1800" b="0" i="0" u="none" strike="noStrike" baseline="0" dirty="0">
                <a:latin typeface="AdvOT46dcae81"/>
              </a:rPr>
              <a:t>-face</a:t>
            </a:r>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pPr algn="l"/>
            <a:r>
              <a:rPr lang="en-US" sz="1800" b="0" i="0" u="none" strike="noStrike" baseline="0" dirty="0">
                <a:latin typeface="AdvOT46dcae81"/>
              </a:rPr>
              <a:t>When looking at primary substance or behavior of the relative, problematic alcohol usage is most frequently mentioned by AFMs (60.5%), with the second and</a:t>
            </a:r>
          </a:p>
          <a:p>
            <a:pPr algn="l"/>
            <a:r>
              <a:rPr lang="en-US" sz="1800" b="0" i="0" u="none" strike="noStrike" baseline="0" dirty="0">
                <a:latin typeface="AdvOT46dcae81"/>
              </a:rPr>
              <a:t>third primarily used substance or behavior being cocaine usage (11.6%) and gambling (9.3%). In addition, most AFMs request help in regard to their husband or male partner (44.6%); with in second and third place, requests for help in regard to their son (25.4%), or brother (8.5%).</a:t>
            </a:r>
            <a:endParaRPr lang="nl-NL" dirty="0"/>
          </a:p>
        </p:txBody>
      </p:sp>
      <p:sp>
        <p:nvSpPr>
          <p:cNvPr id="4" name="Tijdelijke aanduiding voor dianummer 3"/>
          <p:cNvSpPr>
            <a:spLocks noGrp="1"/>
          </p:cNvSpPr>
          <p:nvPr>
            <p:ph type="sldNum" sz="quarter" idx="5"/>
          </p:nvPr>
        </p:nvSpPr>
        <p:spPr/>
        <p:txBody>
          <a:bodyPr/>
          <a:lstStyle/>
          <a:p>
            <a:fld id="{D47DA0C5-05A8-4BD4-BAEF-BF6B6E96BA7D}" type="slidenum">
              <a:rPr lang="en-GB" smtClean="0"/>
              <a:t>8</a:t>
            </a:fld>
            <a:endParaRPr lang="en-GB"/>
          </a:p>
        </p:txBody>
      </p:sp>
    </p:spTree>
    <p:extLst>
      <p:ext uri="{BB962C8B-B14F-4D97-AF65-F5344CB8AC3E}">
        <p14:creationId xmlns:p14="http://schemas.microsoft.com/office/powerpoint/2010/main" val="17745860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gn="l"/>
            <a:r>
              <a:rPr lang="en-US" sz="1800" b="0" i="0" u="none" strike="noStrike" baseline="0" dirty="0">
                <a:latin typeface="AdvOT46dcae81"/>
              </a:rPr>
              <a:t>Looking more closely, the mean group scores of various coping scales also changed considerably three months later compared to baseline, Engaged</a:t>
            </a:r>
          </a:p>
          <a:p>
            <a:pPr algn="l"/>
            <a:r>
              <a:rPr lang="en-US" sz="1800" b="0" i="0" u="none" strike="noStrike" baseline="0" dirty="0">
                <a:latin typeface="AdvOT46dcae81"/>
              </a:rPr>
              <a:t>Emotional Coping (past three months: from </a:t>
            </a:r>
            <a:r>
              <a:rPr lang="en-US" sz="1800" b="0" i="0" u="none" strike="noStrike" baseline="0" dirty="0">
                <a:latin typeface="AdvOT46dcae81+20"/>
              </a:rPr>
              <a:t>‘</a:t>
            </a:r>
            <a:r>
              <a:rPr lang="en-US" sz="1800" b="0" i="0" u="none" strike="noStrike" baseline="0" dirty="0">
                <a:latin typeface="AdvOT46dcae81"/>
              </a:rPr>
              <a:t>sometimes</a:t>
            </a:r>
            <a:r>
              <a:rPr lang="en-US" sz="1800" b="0" i="0" u="none" strike="noStrike" baseline="0" dirty="0">
                <a:latin typeface="AdvOT46dcae81+20"/>
              </a:rPr>
              <a:t>’ </a:t>
            </a:r>
            <a:r>
              <a:rPr lang="en-US" sz="1800" b="0" i="0" u="none" strike="noStrike" baseline="0" dirty="0">
                <a:latin typeface="AdvOT46dcae81"/>
              </a:rPr>
              <a:t>to </a:t>
            </a:r>
            <a:r>
              <a:rPr lang="en-US" sz="1800" b="0" i="0" u="none" strike="noStrike" baseline="0" dirty="0">
                <a:latin typeface="AdvOT46dcae81+20"/>
              </a:rPr>
              <a:t>‘</a:t>
            </a:r>
            <a:r>
              <a:rPr lang="en-US" sz="1800" b="0" i="0" u="none" strike="noStrike" baseline="0" dirty="0">
                <a:latin typeface="AdvOT46dcae81"/>
              </a:rPr>
              <a:t>once or twice</a:t>
            </a:r>
            <a:r>
              <a:rPr lang="en-US" sz="1800" b="0" i="0" u="none" strike="noStrike" baseline="0" dirty="0">
                <a:latin typeface="AdvOT46dcae81+20"/>
              </a:rPr>
              <a:t>’</a:t>
            </a:r>
            <a:r>
              <a:rPr lang="en-US" sz="1800" b="0" i="0" u="none" strike="noStrike" baseline="0" dirty="0">
                <a:latin typeface="AdvOT46dcae81"/>
              </a:rPr>
              <a:t>), Engaged Assertive Coping (past three months: from </a:t>
            </a:r>
            <a:r>
              <a:rPr lang="en-US" sz="1800" b="0" i="0" u="none" strike="noStrike" baseline="0" dirty="0">
                <a:latin typeface="AdvOT46dcae81+20"/>
              </a:rPr>
              <a:t>‘</a:t>
            </a:r>
            <a:r>
              <a:rPr lang="en-US" sz="1800" b="0" i="0" u="none" strike="noStrike" baseline="0" dirty="0">
                <a:latin typeface="AdvOT46dcae81"/>
              </a:rPr>
              <a:t>sometimes</a:t>
            </a:r>
            <a:r>
              <a:rPr lang="en-US" sz="1800" b="0" i="0" u="none" strike="noStrike" baseline="0" dirty="0">
                <a:latin typeface="AdvOT46dcae81+20"/>
              </a:rPr>
              <a:t>’ </a:t>
            </a:r>
            <a:r>
              <a:rPr lang="en-US" sz="1800" b="0" i="0" u="none" strike="noStrike" baseline="0" dirty="0">
                <a:latin typeface="AdvOT46dcae81"/>
              </a:rPr>
              <a:t>to </a:t>
            </a:r>
            <a:r>
              <a:rPr lang="en-US" sz="1800" b="0" i="0" u="none" strike="noStrike" baseline="0" dirty="0">
                <a:latin typeface="AdvOT46dcae81+20"/>
              </a:rPr>
              <a:t>‘</a:t>
            </a:r>
            <a:r>
              <a:rPr lang="en-US" sz="1800" b="0" i="0" u="none" strike="noStrike" baseline="0" dirty="0">
                <a:latin typeface="AdvOT46dcae81"/>
              </a:rPr>
              <a:t>once or twice</a:t>
            </a:r>
            <a:r>
              <a:rPr lang="en-US" sz="1800" b="0" i="0" u="none" strike="noStrike" baseline="0" dirty="0">
                <a:latin typeface="AdvOT46dcae81+20"/>
              </a:rPr>
              <a:t>’</a:t>
            </a:r>
            <a:r>
              <a:rPr lang="en-US" sz="1800" b="0" i="0" u="none" strike="noStrike" baseline="0" dirty="0">
                <a:latin typeface="AdvOT46dcae81"/>
              </a:rPr>
              <a:t>), and Tolerant Inactive Coping (past three months: from </a:t>
            </a:r>
            <a:r>
              <a:rPr lang="en-US" sz="1800" b="0" i="0" u="none" strike="noStrike" baseline="0" dirty="0">
                <a:latin typeface="AdvOT46dcae81+20"/>
              </a:rPr>
              <a:t>‘</a:t>
            </a:r>
            <a:r>
              <a:rPr lang="en-US" sz="1800" b="0" i="0" u="none" strike="noStrike" baseline="0" dirty="0">
                <a:latin typeface="AdvOT46dcae81"/>
              </a:rPr>
              <a:t>once or twice</a:t>
            </a:r>
            <a:r>
              <a:rPr lang="en-US" sz="1800" b="0" i="0" u="none" strike="noStrike" baseline="0" dirty="0">
                <a:latin typeface="AdvOT46dcae81+20"/>
              </a:rPr>
              <a:t>’ </a:t>
            </a:r>
            <a:r>
              <a:rPr lang="en-US" sz="1800" b="0" i="0" u="none" strike="noStrike" baseline="0" dirty="0">
                <a:latin typeface="AdvOT46dcae81"/>
              </a:rPr>
              <a:t>to </a:t>
            </a:r>
            <a:r>
              <a:rPr lang="nl-NL" sz="1800" b="0" i="0" u="none" strike="noStrike" baseline="0" dirty="0">
                <a:latin typeface="AdvOT46dcae81+20"/>
              </a:rPr>
              <a:t>‘</a:t>
            </a:r>
            <a:r>
              <a:rPr lang="nl-NL" sz="1800" b="0" i="0" u="none" strike="noStrike" baseline="0" dirty="0">
                <a:latin typeface="AdvOT46dcae81"/>
              </a:rPr>
              <a:t>never</a:t>
            </a:r>
            <a:r>
              <a:rPr lang="nl-NL" sz="1800" b="0" i="0" u="none" strike="noStrike" baseline="0" dirty="0">
                <a:latin typeface="AdvOT46dcae81+20"/>
              </a:rPr>
              <a:t>’</a:t>
            </a:r>
            <a:r>
              <a:rPr lang="nl-NL" sz="1800" b="0" i="0" u="none" strike="noStrike" baseline="0" dirty="0">
                <a:latin typeface="AdvOT46dcae81"/>
              </a:rPr>
              <a:t>).</a:t>
            </a:r>
            <a:endParaRPr lang="en-US" sz="1800" b="0" i="0" u="none" strike="noStrike" baseline="0" dirty="0">
              <a:solidFill>
                <a:srgbClr val="000000"/>
              </a:solidFill>
              <a:latin typeface="AdvOT46dcae81"/>
            </a:endParaRPr>
          </a:p>
          <a:p>
            <a:pPr algn="l"/>
            <a:endParaRPr lang="en-US" sz="1800" b="0" i="0" u="none" strike="noStrike" baseline="0" dirty="0">
              <a:solidFill>
                <a:srgbClr val="000000"/>
              </a:solidFill>
              <a:latin typeface="AdvOT46dcae81"/>
            </a:endParaRPr>
          </a:p>
          <a:p>
            <a:pPr algn="l"/>
            <a:r>
              <a:rPr lang="en-US" sz="1800" b="0" i="0" u="none" strike="noStrike" baseline="0" dirty="0">
                <a:solidFill>
                  <a:srgbClr val="000000"/>
                </a:solidFill>
                <a:latin typeface="AdvOT46dcae81"/>
              </a:rPr>
              <a:t>These results suggest that the 5-Step Method helps family members learn new skills or ways of behaving, which appear to have a positive effect on their experienced level of burden even after the intervention was formally completed. This idea is reinforced, when the results of the 12-month follow</a:t>
            </a:r>
          </a:p>
          <a:p>
            <a:pPr algn="l"/>
            <a:r>
              <a:rPr lang="en-US" sz="1800" b="0" i="0" u="none" strike="noStrike" baseline="0" dirty="0">
                <a:solidFill>
                  <a:srgbClr val="000000"/>
                </a:solidFill>
                <a:latin typeface="AdvOT46dcae81"/>
              </a:rPr>
              <a:t>up of the UK RCT are looked at, where they also found that improvements continued between the 3-month and the 12-month follow-ups (Velleman et al., </a:t>
            </a:r>
            <a:r>
              <a:rPr lang="en-US" sz="1800" b="0" i="0" u="none" strike="noStrike" baseline="0" dirty="0">
                <a:solidFill>
                  <a:srgbClr val="000081"/>
                </a:solidFill>
                <a:latin typeface="AdvOT46dcae81"/>
              </a:rPr>
              <a:t>2011</a:t>
            </a:r>
            <a:r>
              <a:rPr lang="en-US" sz="1800" b="0" i="0" u="none" strike="noStrike" baseline="0" dirty="0">
                <a:solidFill>
                  <a:srgbClr val="000000"/>
                </a:solidFill>
                <a:latin typeface="AdvOT46dcae81"/>
              </a:rPr>
              <a:t>).</a:t>
            </a:r>
            <a:endParaRPr lang="nl-NL" dirty="0"/>
          </a:p>
        </p:txBody>
      </p:sp>
      <p:sp>
        <p:nvSpPr>
          <p:cNvPr id="4" name="Tijdelijke aanduiding voor dianummer 3"/>
          <p:cNvSpPr>
            <a:spLocks noGrp="1"/>
          </p:cNvSpPr>
          <p:nvPr>
            <p:ph type="sldNum" sz="quarter" idx="5"/>
          </p:nvPr>
        </p:nvSpPr>
        <p:spPr/>
        <p:txBody>
          <a:bodyPr/>
          <a:lstStyle/>
          <a:p>
            <a:fld id="{D47DA0C5-05A8-4BD4-BAEF-BF6B6E96BA7D}" type="slidenum">
              <a:rPr lang="en-GB" smtClean="0"/>
              <a:t>9</a:t>
            </a:fld>
            <a:endParaRPr lang="en-GB"/>
          </a:p>
        </p:txBody>
      </p:sp>
    </p:spTree>
    <p:extLst>
      <p:ext uri="{BB962C8B-B14F-4D97-AF65-F5344CB8AC3E}">
        <p14:creationId xmlns:p14="http://schemas.microsoft.com/office/powerpoint/2010/main" val="245846402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2.bin"/><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jpeg"/><Relationship Id="rId10" Type="http://schemas.openxmlformats.org/officeDocument/2006/relationships/image" Target="../media/image7.png"/><Relationship Id="rId4" Type="http://schemas.openxmlformats.org/officeDocument/2006/relationships/image" Target="../media/image1.emf"/><Relationship Id="rId9"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14.jp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2.png"/><Relationship Id="rId5" Type="http://schemas.openxmlformats.org/officeDocument/2006/relationships/image" Target="../media/image14.jp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14.jp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14.jp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14.jp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14.jp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14.jp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14.jp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4.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6.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5.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10.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10.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2.png"/><Relationship Id="rId5" Type="http://schemas.openxmlformats.org/officeDocument/2006/relationships/image" Target="../media/image11.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2.png"/><Relationship Id="rId5" Type="http://schemas.openxmlformats.org/officeDocument/2006/relationships/image" Target="../media/image1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image" Target="../media/image13.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I / vast beeld + teks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0438CCE-0243-4F7B-B433-F50F5AFBF8BD}"/>
              </a:ext>
            </a:extLst>
          </p:cNvPr>
          <p:cNvGraphicFramePr>
            <a:graphicFrameLocks noChangeAspect="1"/>
          </p:cNvGraphicFramePr>
          <p:nvPr userDrawn="1">
            <p:custDataLst>
              <p:tags r:id="rId1"/>
            </p:custDataLst>
            <p:extLst>
              <p:ext uri="{D42A27DB-BD31-4B8C-83A1-F6EECF244321}">
                <p14:modId xmlns:p14="http://schemas.microsoft.com/office/powerpoint/2010/main" val="3888692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9" imgH="429" progId="TCLayout.ActiveDocument.1">
                  <p:embed/>
                </p:oleObj>
              </mc:Choice>
              <mc:Fallback>
                <p:oleObj name="think-cell Slide" r:id="rId3" imgW="429" imgH="429" progId="TCLayout.ActiveDocument.1">
                  <p:embed/>
                  <p:pic>
                    <p:nvPicPr>
                      <p:cNvPr id="7" name="Object 6" hidden="1">
                        <a:extLst>
                          <a:ext uri="{FF2B5EF4-FFF2-40B4-BE49-F238E27FC236}">
                            <a16:creationId xmlns:a16="http://schemas.microsoft.com/office/drawing/2014/main" id="{10438CCE-0243-4F7B-B433-F50F5AFBF8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77457F3E-C09E-4544-9BD0-6B5D1F56EF34}"/>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b="15663"/>
          <a:stretch/>
        </p:blipFill>
        <p:spPr>
          <a:xfrm>
            <a:off x="-7663" y="-1"/>
            <a:ext cx="12199664" cy="6858000"/>
          </a:xfrm>
          <a:prstGeom prst="rect">
            <a:avLst/>
          </a:prstGeom>
        </p:spPr>
      </p:pic>
      <p:pic>
        <p:nvPicPr>
          <p:cNvPr id="11" name="Graphic 10">
            <a:extLst>
              <a:ext uri="{FF2B5EF4-FFF2-40B4-BE49-F238E27FC236}">
                <a16:creationId xmlns:a16="http://schemas.microsoft.com/office/drawing/2014/main" id="{A1680D80-6FF4-4666-A815-4C7BA0EBA921}"/>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 y="-1"/>
            <a:ext cx="12192002" cy="6858001"/>
          </a:xfrm>
          <a:prstGeom prst="rect">
            <a:avLst/>
          </a:prstGeom>
        </p:spPr>
      </p:pic>
      <p:grpSp>
        <p:nvGrpSpPr>
          <p:cNvPr id="12" name="Group 11">
            <a:extLst>
              <a:ext uri="{FF2B5EF4-FFF2-40B4-BE49-F238E27FC236}">
                <a16:creationId xmlns:a16="http://schemas.microsoft.com/office/drawing/2014/main" id="{7EA4DDDC-8347-4F63-A43B-91B709C69A25}"/>
              </a:ext>
            </a:extLst>
          </p:cNvPr>
          <p:cNvGrpSpPr/>
          <p:nvPr userDrawn="1"/>
        </p:nvGrpSpPr>
        <p:grpSpPr>
          <a:xfrm>
            <a:off x="9085521" y="5170372"/>
            <a:ext cx="2794535" cy="1492150"/>
            <a:chOff x="9085521" y="5170372"/>
            <a:chExt cx="2794535" cy="1492150"/>
          </a:xfrm>
        </p:grpSpPr>
        <p:pic>
          <p:nvPicPr>
            <p:cNvPr id="13" name="Picture 12">
              <a:extLst>
                <a:ext uri="{FF2B5EF4-FFF2-40B4-BE49-F238E27FC236}">
                  <a16:creationId xmlns:a16="http://schemas.microsoft.com/office/drawing/2014/main" id="{7971E03C-7BDD-4525-AE6F-89295D71F730}"/>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085521" y="6395896"/>
              <a:ext cx="1644566" cy="266626"/>
            </a:xfrm>
            <a:prstGeom prst="rect">
              <a:avLst/>
            </a:prstGeom>
          </p:spPr>
        </p:pic>
        <p:pic>
          <p:nvPicPr>
            <p:cNvPr id="14" name="Picture 13">
              <a:extLst>
                <a:ext uri="{FF2B5EF4-FFF2-40B4-BE49-F238E27FC236}">
                  <a16:creationId xmlns:a16="http://schemas.microsoft.com/office/drawing/2014/main" id="{47BFB2BE-DA75-41E0-9AFD-D71718CC118B}"/>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418660" y="5273120"/>
              <a:ext cx="974665" cy="976700"/>
            </a:xfrm>
            <a:prstGeom prst="rect">
              <a:avLst/>
            </a:prstGeom>
          </p:spPr>
        </p:pic>
        <p:pic>
          <p:nvPicPr>
            <p:cNvPr id="15" name="Picture 14">
              <a:extLst>
                <a:ext uri="{FF2B5EF4-FFF2-40B4-BE49-F238E27FC236}">
                  <a16:creationId xmlns:a16="http://schemas.microsoft.com/office/drawing/2014/main" id="{8E532D70-DCCD-4F16-8EAF-7DBDFF6673DC}"/>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643190" y="5170372"/>
              <a:ext cx="1236866" cy="833258"/>
            </a:xfrm>
            <a:prstGeom prst="rect">
              <a:avLst/>
            </a:prstGeom>
          </p:spPr>
        </p:pic>
      </p:grpSp>
      <p:sp>
        <p:nvSpPr>
          <p:cNvPr id="22" name="Title 1">
            <a:extLst>
              <a:ext uri="{FF2B5EF4-FFF2-40B4-BE49-F238E27FC236}">
                <a16:creationId xmlns:a16="http://schemas.microsoft.com/office/drawing/2014/main" id="{91255DCA-1181-46C4-A609-F3529ED2801E}"/>
              </a:ext>
            </a:extLst>
          </p:cNvPr>
          <p:cNvSpPr txBox="1">
            <a:spLocks/>
          </p:cNvSpPr>
          <p:nvPr userDrawn="1"/>
        </p:nvSpPr>
        <p:spPr>
          <a:xfrm>
            <a:off x="894131" y="1170927"/>
            <a:ext cx="6309979" cy="5539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r>
              <a:rPr lang="nl-NL" sz="4000" dirty="0"/>
              <a:t>Bruggen bouwen</a:t>
            </a:r>
          </a:p>
        </p:txBody>
      </p:sp>
      <p:sp>
        <p:nvSpPr>
          <p:cNvPr id="23" name="Subtitle 2">
            <a:extLst>
              <a:ext uri="{FF2B5EF4-FFF2-40B4-BE49-F238E27FC236}">
                <a16:creationId xmlns:a16="http://schemas.microsoft.com/office/drawing/2014/main" id="{E69210A7-BF6C-47FB-8913-5AE993E97D61}"/>
              </a:ext>
            </a:extLst>
          </p:cNvPr>
          <p:cNvSpPr txBox="1">
            <a:spLocks/>
          </p:cNvSpPr>
          <p:nvPr userDrawn="1"/>
        </p:nvSpPr>
        <p:spPr>
          <a:xfrm>
            <a:off x="894130" y="1703055"/>
            <a:ext cx="6309979"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0"/>
              </a:spcBef>
              <a:spcAft>
                <a:spcPts val="300"/>
              </a:spcAft>
              <a:buFontTx/>
              <a:buNone/>
              <a:defRPr sz="2000" kern="1200">
                <a:solidFill>
                  <a:schemeClr val="tx1"/>
                </a:solidFill>
                <a:latin typeface="+mn-lt"/>
                <a:ea typeface="+mn-ea"/>
                <a:cs typeface="+mn-cs"/>
              </a:defRPr>
            </a:lvl1pPr>
            <a:lvl2pPr marL="265113" indent="-26511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2pPr>
            <a:lvl3pPr marL="541338" indent="-276225"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tx1"/>
                </a:solidFill>
                <a:latin typeface="+mn-lt"/>
                <a:ea typeface="+mn-ea"/>
                <a:cs typeface="+mn-cs"/>
              </a:defRPr>
            </a:lvl3pPr>
            <a:lvl4pPr marL="806450" indent="-265113"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tx1"/>
                </a:solidFill>
                <a:latin typeface="+mn-lt"/>
                <a:ea typeface="+mn-ea"/>
                <a:cs typeface="+mn-cs"/>
              </a:defRPr>
            </a:lvl4pPr>
            <a:lvl5pPr marL="1071563" indent="-265113"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2400" dirty="0"/>
              <a:t>Tussen wetenschap en praktijk</a:t>
            </a:r>
          </a:p>
        </p:txBody>
      </p:sp>
    </p:spTree>
    <p:extLst>
      <p:ext uri="{BB962C8B-B14F-4D97-AF65-F5344CB8AC3E}">
        <p14:creationId xmlns:p14="http://schemas.microsoft.com/office/powerpoint/2010/main" val="38412514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I / 1 kolom">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0ED13-85AF-48A2-B969-4D6B3D0E2E20}"/>
              </a:ext>
            </a:extLst>
          </p:cNvPr>
          <p:cNvGraphicFramePr>
            <a:graphicFrameLocks noChangeAspect="1"/>
          </p:cNvGraphicFramePr>
          <p:nvPr userDrawn="1">
            <p:custDataLst>
              <p:tags r:id="rId1"/>
            </p:custDataLst>
            <p:extLst>
              <p:ext uri="{D42A27DB-BD31-4B8C-83A1-F6EECF244321}">
                <p14:modId xmlns:p14="http://schemas.microsoft.com/office/powerpoint/2010/main" val="1578692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9" imgH="429" progId="TCLayout.ActiveDocument.1">
                  <p:embed/>
                </p:oleObj>
              </mc:Choice>
              <mc:Fallback>
                <p:oleObj name="think-cell Slide" r:id="rId3" imgW="429" imgH="429" progId="TCLayout.ActiveDocument.1">
                  <p:embed/>
                  <p:pic>
                    <p:nvPicPr>
                      <p:cNvPr id="4" name="Object 3" hidden="1">
                        <a:extLst>
                          <a:ext uri="{FF2B5EF4-FFF2-40B4-BE49-F238E27FC236}">
                            <a16:creationId xmlns:a16="http://schemas.microsoft.com/office/drawing/2014/main" id="{07A0ED13-85AF-48A2-B969-4D6B3D0E2E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B1B865CC-A94B-497A-A24C-980AE835729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a:extLst>
              <a:ext uri="{FF2B5EF4-FFF2-40B4-BE49-F238E27FC236}">
                <a16:creationId xmlns:a16="http://schemas.microsoft.com/office/drawing/2014/main" id="{D2472BCC-906A-405B-9756-057BC758E954}"/>
              </a:ext>
            </a:extLst>
          </p:cNvPr>
          <p:cNvSpPr>
            <a:spLocks noGrp="1"/>
          </p:cNvSpPr>
          <p:nvPr>
            <p:ph idx="1"/>
          </p:nvPr>
        </p:nvSpPr>
        <p:spPr>
          <a:xfrm>
            <a:off x="911752" y="1799999"/>
            <a:ext cx="10377649" cy="3005917"/>
          </a:xfrm>
        </p:spPr>
        <p:txBody>
          <a:bodyPr wrap="square">
            <a:noAutofit/>
          </a:bodyPr>
          <a:lstStyle/>
          <a:p>
            <a:pPr lvl="0"/>
            <a:r>
              <a:rPr lang="nl-NL" noProof="0" dirty="0"/>
              <a:t>Click </a:t>
            </a:r>
            <a:r>
              <a:rPr lang="nl-NL" noProof="0" dirty="0" err="1"/>
              <a:t>to</a:t>
            </a:r>
            <a:r>
              <a:rPr lang="nl-NL" noProof="0" dirty="0"/>
              <a:t> </a:t>
            </a:r>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a:p>
            <a:pPr lvl="1"/>
            <a:r>
              <a:rPr lang="nl-NL" noProof="0" dirty="0"/>
              <a:t>Second level</a:t>
            </a:r>
          </a:p>
          <a:p>
            <a:pPr lvl="2"/>
            <a:r>
              <a:rPr lang="nl-NL" noProof="0" dirty="0" err="1"/>
              <a:t>Third</a:t>
            </a:r>
            <a:r>
              <a:rPr lang="nl-NL" noProof="0" dirty="0"/>
              <a:t> level</a:t>
            </a:r>
          </a:p>
          <a:p>
            <a:pPr lvl="3"/>
            <a:r>
              <a:rPr lang="nl-NL" noProof="0" dirty="0" err="1"/>
              <a:t>Fourth</a:t>
            </a:r>
            <a:r>
              <a:rPr lang="nl-NL" noProof="0" dirty="0"/>
              <a:t> level</a:t>
            </a:r>
          </a:p>
          <a:p>
            <a:pPr lvl="4"/>
            <a:r>
              <a:rPr lang="nl-NL" noProof="0" dirty="0" err="1"/>
              <a:t>Fifth</a:t>
            </a:r>
            <a:r>
              <a:rPr lang="nl-NL" noProof="0" dirty="0"/>
              <a:t> level</a:t>
            </a:r>
          </a:p>
        </p:txBody>
      </p:sp>
      <p:sp>
        <p:nvSpPr>
          <p:cNvPr id="6" name="Title 5">
            <a:extLst>
              <a:ext uri="{FF2B5EF4-FFF2-40B4-BE49-F238E27FC236}">
                <a16:creationId xmlns:a16="http://schemas.microsoft.com/office/drawing/2014/main" id="{2F976D0D-1B13-4C96-8206-ECCC58828E99}"/>
              </a:ext>
            </a:extLst>
          </p:cNvPr>
          <p:cNvSpPr>
            <a:spLocks noGrp="1"/>
          </p:cNvSpPr>
          <p:nvPr>
            <p:ph type="title"/>
          </p:nvPr>
        </p:nvSpPr>
        <p:spPr/>
        <p:txBody>
          <a:bodyPr vert="horz"/>
          <a:lstStyle/>
          <a:p>
            <a:r>
              <a:rPr lang="en-US"/>
              <a:t>Click to edit Master title style</a:t>
            </a:r>
            <a:endParaRPr lang="en-GB"/>
          </a:p>
        </p:txBody>
      </p:sp>
      <p:pic>
        <p:nvPicPr>
          <p:cNvPr id="13" name="Picture 12">
            <a:extLst>
              <a:ext uri="{FF2B5EF4-FFF2-40B4-BE49-F238E27FC236}">
                <a16:creationId xmlns:a16="http://schemas.microsoft.com/office/drawing/2014/main" id="{FA1B05FB-2807-4BA6-B150-13F0C58C4894}"/>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048534" y="5707099"/>
            <a:ext cx="698421" cy="699880"/>
          </a:xfrm>
          <a:prstGeom prst="rect">
            <a:avLst/>
          </a:prstGeom>
        </p:spPr>
      </p:pic>
      <p:sp>
        <p:nvSpPr>
          <p:cNvPr id="12" name="Slide Number Placeholder 5">
            <a:extLst>
              <a:ext uri="{FF2B5EF4-FFF2-40B4-BE49-F238E27FC236}">
                <a16:creationId xmlns:a16="http://schemas.microsoft.com/office/drawing/2014/main" id="{E0E1BC57-DA14-484B-B48E-376A718D5EBE}"/>
              </a:ext>
            </a:extLst>
          </p:cNvPr>
          <p:cNvSpPr>
            <a:spLocks noGrp="1"/>
          </p:cNvSpPr>
          <p:nvPr>
            <p:ph type="sldNum" sz="quarter" idx="4"/>
          </p:nvPr>
        </p:nvSpPr>
        <p:spPr>
          <a:xfrm>
            <a:off x="361178" y="6246000"/>
            <a:ext cx="398364" cy="153888"/>
          </a:xfrm>
          <a:prstGeom prst="rect">
            <a:avLst/>
          </a:prstGeom>
        </p:spPr>
        <p:txBody>
          <a:bodyPr vert="horz" wrap="square" lIns="0" tIns="0" rIns="0" bIns="0" rtlCol="0" anchor="ctr">
            <a:spAutoFit/>
          </a:bodyPr>
          <a:lstStyle>
            <a:lvl1pPr algn="l">
              <a:defRPr sz="1000">
                <a:solidFill>
                  <a:schemeClr val="tx2"/>
                </a:solidFill>
              </a:defRPr>
            </a:lvl1pPr>
          </a:lstStyle>
          <a:p>
            <a:fld id="{01ED78C3-3A94-496B-9AE8-73034C580365}" type="slidenum">
              <a:rPr lang="en-US" smtClean="0"/>
              <a:pPr/>
              <a:t>‹#›</a:t>
            </a:fld>
            <a:endParaRPr lang="en-US"/>
          </a:p>
        </p:txBody>
      </p:sp>
    </p:spTree>
    <p:extLst>
      <p:ext uri="{BB962C8B-B14F-4D97-AF65-F5344CB8AC3E}">
        <p14:creationId xmlns:p14="http://schemas.microsoft.com/office/powerpoint/2010/main" val="18034884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II / 2 kolomme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D9C9CD-6530-482A-BD14-61D9D62B5279}"/>
              </a:ext>
            </a:extLst>
          </p:cNvPr>
          <p:cNvGraphicFramePr>
            <a:graphicFrameLocks noChangeAspect="1"/>
          </p:cNvGraphicFramePr>
          <p:nvPr userDrawn="1">
            <p:custDataLst>
              <p:tags r:id="rId1"/>
            </p:custDataLst>
            <p:extLst>
              <p:ext uri="{D42A27DB-BD31-4B8C-83A1-F6EECF244321}">
                <p14:modId xmlns:p14="http://schemas.microsoft.com/office/powerpoint/2010/main" val="3738539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9" imgH="429" progId="TCLayout.ActiveDocument.1">
                  <p:embed/>
                </p:oleObj>
              </mc:Choice>
              <mc:Fallback>
                <p:oleObj name="think-cell Slide" r:id="rId3" imgW="429" imgH="429" progId="TCLayout.ActiveDocument.1">
                  <p:embed/>
                  <p:pic>
                    <p:nvPicPr>
                      <p:cNvPr id="4" name="Object 3" hidden="1">
                        <a:extLst>
                          <a:ext uri="{FF2B5EF4-FFF2-40B4-BE49-F238E27FC236}">
                            <a16:creationId xmlns:a16="http://schemas.microsoft.com/office/drawing/2014/main" id="{7DD9C9CD-6530-482A-BD14-61D9D62B52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937DB47C-52F5-474E-ABBB-5D089605341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769DEBB-A118-45FB-BA81-AE661A598514}"/>
              </a:ext>
            </a:extLst>
          </p:cNvPr>
          <p:cNvSpPr>
            <a:spLocks noGrp="1"/>
          </p:cNvSpPr>
          <p:nvPr>
            <p:ph type="title"/>
          </p:nvPr>
        </p:nvSpPr>
        <p:spPr/>
        <p:txBody>
          <a:bodyPr vert="horz"/>
          <a:lstStyle/>
          <a:p>
            <a:r>
              <a:rPr lang="nl-NL" noProof="0"/>
              <a:t>Click to edit Master title style</a:t>
            </a:r>
          </a:p>
        </p:txBody>
      </p:sp>
      <p:sp>
        <p:nvSpPr>
          <p:cNvPr id="17" name="Content Placeholder 2">
            <a:extLst>
              <a:ext uri="{FF2B5EF4-FFF2-40B4-BE49-F238E27FC236}">
                <a16:creationId xmlns:a16="http://schemas.microsoft.com/office/drawing/2014/main" id="{33820377-9A1B-4ECC-8A48-F3EA722169E9}"/>
              </a:ext>
            </a:extLst>
          </p:cNvPr>
          <p:cNvSpPr>
            <a:spLocks noGrp="1"/>
          </p:cNvSpPr>
          <p:nvPr>
            <p:ph sz="half" idx="1"/>
          </p:nvPr>
        </p:nvSpPr>
        <p:spPr>
          <a:xfrm>
            <a:off x="911752" y="1800000"/>
            <a:ext cx="4964685" cy="3282362"/>
          </a:xfrm>
        </p:spPr>
        <p:txBody>
          <a:bodyPr>
            <a:noAutofit/>
          </a:bodyPr>
          <a:lstStyle>
            <a:lvl1pPr>
              <a:defRPr sz="2000"/>
            </a:lvl1pPr>
            <a:lvl2pPr>
              <a:defRPr sz="2000"/>
            </a:lvl2pPr>
            <a:lvl3pPr>
              <a:defRPr sz="1800"/>
            </a:lvl3pPr>
            <a:lvl4pPr>
              <a:defRPr sz="1800"/>
            </a:lvl4pPr>
            <a:lvl5pPr>
              <a:defRPr sz="1800"/>
            </a:lvl5pPr>
          </a:lstStyle>
          <a:p>
            <a:pPr lvl="0"/>
            <a:r>
              <a:rPr lang="nl-NL" noProof="0" dirty="0"/>
              <a:t>Click </a:t>
            </a:r>
            <a:r>
              <a:rPr lang="nl-NL" noProof="0" dirty="0" err="1"/>
              <a:t>to</a:t>
            </a:r>
            <a:r>
              <a:rPr lang="nl-NL" noProof="0" dirty="0"/>
              <a:t> </a:t>
            </a:r>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a:p>
            <a:pPr lvl="1"/>
            <a:r>
              <a:rPr lang="nl-NL" noProof="0" dirty="0"/>
              <a:t>Second level</a:t>
            </a:r>
          </a:p>
          <a:p>
            <a:pPr lvl="2"/>
            <a:r>
              <a:rPr lang="nl-NL" noProof="0" dirty="0" err="1"/>
              <a:t>Third</a:t>
            </a:r>
            <a:r>
              <a:rPr lang="nl-NL" noProof="0" dirty="0"/>
              <a:t> level</a:t>
            </a:r>
          </a:p>
          <a:p>
            <a:pPr lvl="3"/>
            <a:r>
              <a:rPr lang="nl-NL" noProof="0" dirty="0" err="1"/>
              <a:t>Fourth</a:t>
            </a:r>
            <a:r>
              <a:rPr lang="nl-NL" noProof="0" dirty="0"/>
              <a:t> level</a:t>
            </a:r>
          </a:p>
          <a:p>
            <a:pPr lvl="4"/>
            <a:r>
              <a:rPr lang="nl-NL" noProof="0" dirty="0" err="1"/>
              <a:t>Fifth</a:t>
            </a:r>
            <a:r>
              <a:rPr lang="nl-NL" noProof="0" dirty="0"/>
              <a:t> level</a:t>
            </a:r>
          </a:p>
        </p:txBody>
      </p:sp>
      <p:sp>
        <p:nvSpPr>
          <p:cNvPr id="18" name="Content Placeholder 3">
            <a:extLst>
              <a:ext uri="{FF2B5EF4-FFF2-40B4-BE49-F238E27FC236}">
                <a16:creationId xmlns:a16="http://schemas.microsoft.com/office/drawing/2014/main" id="{769F5DEA-2C87-411F-87F5-435A0FC8C960}"/>
              </a:ext>
            </a:extLst>
          </p:cNvPr>
          <p:cNvSpPr>
            <a:spLocks noGrp="1"/>
          </p:cNvSpPr>
          <p:nvPr>
            <p:ph sz="half" idx="2"/>
          </p:nvPr>
        </p:nvSpPr>
        <p:spPr>
          <a:xfrm>
            <a:off x="6324716" y="1800000"/>
            <a:ext cx="4964685" cy="3282362"/>
          </a:xfrm>
        </p:spPr>
        <p:txBody>
          <a:bodyPr>
            <a:noAutofit/>
          </a:bodyPr>
          <a:lstStyle>
            <a:lvl1pPr>
              <a:defRPr sz="2000"/>
            </a:lvl1pPr>
            <a:lvl2pPr>
              <a:defRPr sz="2000"/>
            </a:lvl2pPr>
            <a:lvl3pPr>
              <a:defRPr sz="1800"/>
            </a:lvl3pPr>
            <a:lvl4pPr>
              <a:defRPr sz="1800"/>
            </a:lvl4pPr>
            <a:lvl5pPr>
              <a:defRPr sz="1800"/>
            </a:lvl5pPr>
          </a:lstStyle>
          <a:p>
            <a:pPr lvl="0"/>
            <a:r>
              <a:rPr lang="nl-NL" noProof="0" dirty="0"/>
              <a:t>Click </a:t>
            </a:r>
            <a:r>
              <a:rPr lang="nl-NL" noProof="0" dirty="0" err="1"/>
              <a:t>to</a:t>
            </a:r>
            <a:r>
              <a:rPr lang="nl-NL" noProof="0" dirty="0"/>
              <a:t> </a:t>
            </a:r>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a:p>
            <a:pPr lvl="1"/>
            <a:r>
              <a:rPr lang="nl-NL" noProof="0" dirty="0"/>
              <a:t>Second level</a:t>
            </a:r>
          </a:p>
          <a:p>
            <a:pPr lvl="2"/>
            <a:r>
              <a:rPr lang="nl-NL" noProof="0" dirty="0" err="1"/>
              <a:t>Third</a:t>
            </a:r>
            <a:r>
              <a:rPr lang="nl-NL" noProof="0" dirty="0"/>
              <a:t> level</a:t>
            </a:r>
          </a:p>
          <a:p>
            <a:pPr lvl="3"/>
            <a:r>
              <a:rPr lang="nl-NL" noProof="0" dirty="0" err="1"/>
              <a:t>Fourth</a:t>
            </a:r>
            <a:r>
              <a:rPr lang="nl-NL" noProof="0" dirty="0"/>
              <a:t> level</a:t>
            </a:r>
          </a:p>
          <a:p>
            <a:pPr lvl="4"/>
            <a:r>
              <a:rPr lang="nl-NL" noProof="0" dirty="0" err="1"/>
              <a:t>Fifth</a:t>
            </a:r>
            <a:r>
              <a:rPr lang="nl-NL" noProof="0" dirty="0"/>
              <a:t> level</a:t>
            </a:r>
          </a:p>
        </p:txBody>
      </p:sp>
      <p:pic>
        <p:nvPicPr>
          <p:cNvPr id="13" name="Picture 12">
            <a:extLst>
              <a:ext uri="{FF2B5EF4-FFF2-40B4-BE49-F238E27FC236}">
                <a16:creationId xmlns:a16="http://schemas.microsoft.com/office/drawing/2014/main" id="{0BA7250E-1B1F-4CB4-89B6-99245F66728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048534" y="5707099"/>
            <a:ext cx="698422" cy="699880"/>
          </a:xfrm>
          <a:prstGeom prst="rect">
            <a:avLst/>
          </a:prstGeom>
        </p:spPr>
      </p:pic>
      <p:sp>
        <p:nvSpPr>
          <p:cNvPr id="11" name="Slide Number Placeholder 5">
            <a:extLst>
              <a:ext uri="{FF2B5EF4-FFF2-40B4-BE49-F238E27FC236}">
                <a16:creationId xmlns:a16="http://schemas.microsoft.com/office/drawing/2014/main" id="{2B2F45B6-D616-4667-B87C-FD82B154E9C9}"/>
              </a:ext>
            </a:extLst>
          </p:cNvPr>
          <p:cNvSpPr>
            <a:spLocks noGrp="1"/>
          </p:cNvSpPr>
          <p:nvPr>
            <p:ph type="sldNum" sz="quarter" idx="4"/>
          </p:nvPr>
        </p:nvSpPr>
        <p:spPr>
          <a:xfrm>
            <a:off x="361178" y="6246000"/>
            <a:ext cx="398364" cy="153888"/>
          </a:xfrm>
          <a:prstGeom prst="rect">
            <a:avLst/>
          </a:prstGeom>
        </p:spPr>
        <p:txBody>
          <a:bodyPr vert="horz" wrap="square" lIns="0" tIns="0" rIns="0" bIns="0" rtlCol="0" anchor="ctr">
            <a:spAutoFit/>
          </a:bodyPr>
          <a:lstStyle>
            <a:lvl1pPr algn="l">
              <a:defRPr sz="1000">
                <a:solidFill>
                  <a:schemeClr val="tx2"/>
                </a:solidFill>
              </a:defRPr>
            </a:lvl1pPr>
          </a:lstStyle>
          <a:p>
            <a:fld id="{01ED78C3-3A94-496B-9AE8-73034C580365}" type="slidenum">
              <a:rPr lang="en-US" smtClean="0"/>
              <a:pPr/>
              <a:t>‹#›</a:t>
            </a:fld>
            <a:endParaRPr lang="en-US"/>
          </a:p>
        </p:txBody>
      </p:sp>
    </p:spTree>
    <p:extLst>
      <p:ext uri="{BB962C8B-B14F-4D97-AF65-F5344CB8AC3E}">
        <p14:creationId xmlns:p14="http://schemas.microsoft.com/office/powerpoint/2010/main" val="36593973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III / 2 kolommen met kop">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FCF338E-090D-4667-A5E3-78FF2BD0E39C}"/>
              </a:ext>
            </a:extLst>
          </p:cNvPr>
          <p:cNvGraphicFramePr>
            <a:graphicFrameLocks noChangeAspect="1"/>
          </p:cNvGraphicFramePr>
          <p:nvPr userDrawn="1">
            <p:custDataLst>
              <p:tags r:id="rId1"/>
            </p:custDataLst>
            <p:extLst>
              <p:ext uri="{D42A27DB-BD31-4B8C-83A1-F6EECF244321}">
                <p14:modId xmlns:p14="http://schemas.microsoft.com/office/powerpoint/2010/main" val="51429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9" imgH="429" progId="TCLayout.ActiveDocument.1">
                  <p:embed/>
                </p:oleObj>
              </mc:Choice>
              <mc:Fallback>
                <p:oleObj name="think-cell Slide" r:id="rId3" imgW="429" imgH="429" progId="TCLayout.ActiveDocument.1">
                  <p:embed/>
                  <p:pic>
                    <p:nvPicPr>
                      <p:cNvPr id="6" name="Object 5" hidden="1">
                        <a:extLst>
                          <a:ext uri="{FF2B5EF4-FFF2-40B4-BE49-F238E27FC236}">
                            <a16:creationId xmlns:a16="http://schemas.microsoft.com/office/drawing/2014/main" id="{DFCF338E-090D-4667-A5E3-78FF2BD0E3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903011CC-2F99-4613-B5C7-D339861F74B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769DEBB-A118-45FB-BA81-AE661A598514}"/>
              </a:ext>
            </a:extLst>
          </p:cNvPr>
          <p:cNvSpPr>
            <a:spLocks noGrp="1"/>
          </p:cNvSpPr>
          <p:nvPr>
            <p:ph type="title"/>
          </p:nvPr>
        </p:nvSpPr>
        <p:spPr/>
        <p:txBody>
          <a:bodyPr vert="horz"/>
          <a:lstStyle/>
          <a:p>
            <a:r>
              <a:rPr lang="nl-NL" noProof="0"/>
              <a:t>Click to edit Master title style</a:t>
            </a:r>
          </a:p>
        </p:txBody>
      </p:sp>
      <p:sp>
        <p:nvSpPr>
          <p:cNvPr id="3" name="Content Placeholder 2">
            <a:extLst>
              <a:ext uri="{FF2B5EF4-FFF2-40B4-BE49-F238E27FC236}">
                <a16:creationId xmlns:a16="http://schemas.microsoft.com/office/drawing/2014/main" id="{997FB42C-C462-407A-82EC-2BBD05640F3F}"/>
              </a:ext>
            </a:extLst>
          </p:cNvPr>
          <p:cNvSpPr>
            <a:spLocks noGrp="1"/>
          </p:cNvSpPr>
          <p:nvPr>
            <p:ph sz="half" idx="1"/>
          </p:nvPr>
        </p:nvSpPr>
        <p:spPr>
          <a:xfrm>
            <a:off x="911752" y="2642832"/>
            <a:ext cx="4964685" cy="2767130"/>
          </a:xfrm>
        </p:spPr>
        <p:txBody>
          <a:bodyPr>
            <a:noAutofit/>
          </a:bodyPr>
          <a:lstStyle>
            <a:lvl1pPr>
              <a:defRPr sz="2000"/>
            </a:lvl1pPr>
            <a:lvl2pPr>
              <a:defRPr sz="2000"/>
            </a:lvl2pPr>
            <a:lvl3pPr>
              <a:defRPr sz="1800"/>
            </a:lvl3pPr>
            <a:lvl4pPr>
              <a:defRPr sz="1800"/>
            </a:lvl4pPr>
            <a:lvl5pPr>
              <a:defRPr sz="1800"/>
            </a:lvl5pPr>
          </a:lstStyle>
          <a:p>
            <a:pPr lvl="0"/>
            <a:r>
              <a:rPr lang="nl-NL" noProof="0" dirty="0"/>
              <a:t>Click </a:t>
            </a:r>
            <a:r>
              <a:rPr lang="nl-NL" noProof="0" dirty="0" err="1"/>
              <a:t>to</a:t>
            </a:r>
            <a:r>
              <a:rPr lang="nl-NL" noProof="0" dirty="0"/>
              <a:t> </a:t>
            </a:r>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a:p>
            <a:pPr lvl="1"/>
            <a:r>
              <a:rPr lang="nl-NL" noProof="0" dirty="0"/>
              <a:t>Second level</a:t>
            </a:r>
          </a:p>
          <a:p>
            <a:pPr lvl="2"/>
            <a:r>
              <a:rPr lang="nl-NL" noProof="0" dirty="0" err="1"/>
              <a:t>Third</a:t>
            </a:r>
            <a:r>
              <a:rPr lang="nl-NL" noProof="0" dirty="0"/>
              <a:t> level</a:t>
            </a:r>
          </a:p>
          <a:p>
            <a:pPr lvl="3"/>
            <a:r>
              <a:rPr lang="nl-NL" noProof="0" dirty="0" err="1"/>
              <a:t>Fourth</a:t>
            </a:r>
            <a:r>
              <a:rPr lang="nl-NL" noProof="0" dirty="0"/>
              <a:t> level</a:t>
            </a:r>
          </a:p>
          <a:p>
            <a:pPr lvl="4"/>
            <a:r>
              <a:rPr lang="nl-NL" noProof="0" dirty="0" err="1"/>
              <a:t>Fifth</a:t>
            </a:r>
            <a:r>
              <a:rPr lang="nl-NL" noProof="0" dirty="0"/>
              <a:t> level</a:t>
            </a:r>
          </a:p>
        </p:txBody>
      </p:sp>
      <p:sp>
        <p:nvSpPr>
          <p:cNvPr id="4" name="Content Placeholder 3">
            <a:extLst>
              <a:ext uri="{FF2B5EF4-FFF2-40B4-BE49-F238E27FC236}">
                <a16:creationId xmlns:a16="http://schemas.microsoft.com/office/drawing/2014/main" id="{635B001B-2B61-4396-8CC3-6CD33A9C9412}"/>
              </a:ext>
            </a:extLst>
          </p:cNvPr>
          <p:cNvSpPr>
            <a:spLocks noGrp="1"/>
          </p:cNvSpPr>
          <p:nvPr>
            <p:ph sz="half" idx="2"/>
          </p:nvPr>
        </p:nvSpPr>
        <p:spPr>
          <a:xfrm>
            <a:off x="6324716" y="2642832"/>
            <a:ext cx="4964685" cy="2767130"/>
          </a:xfrm>
        </p:spPr>
        <p:txBody>
          <a:bodyPr>
            <a:noAutofit/>
          </a:bodyPr>
          <a:lstStyle>
            <a:lvl1pPr>
              <a:defRPr sz="2000"/>
            </a:lvl1pPr>
            <a:lvl2pPr>
              <a:defRPr sz="2000"/>
            </a:lvl2pPr>
            <a:lvl3pPr>
              <a:defRPr sz="1800"/>
            </a:lvl3pPr>
            <a:lvl4pPr>
              <a:defRPr sz="1800"/>
            </a:lvl4pPr>
            <a:lvl5pPr>
              <a:defRPr sz="1800"/>
            </a:lvl5pPr>
          </a:lstStyle>
          <a:p>
            <a:pPr lvl="0"/>
            <a:r>
              <a:rPr lang="nl-NL" noProof="0" dirty="0"/>
              <a:t>Click </a:t>
            </a:r>
            <a:r>
              <a:rPr lang="nl-NL" noProof="0" dirty="0" err="1"/>
              <a:t>to</a:t>
            </a:r>
            <a:r>
              <a:rPr lang="nl-NL" noProof="0" dirty="0"/>
              <a:t> </a:t>
            </a:r>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a:p>
            <a:pPr lvl="1"/>
            <a:r>
              <a:rPr lang="nl-NL" noProof="0" dirty="0"/>
              <a:t>Second level</a:t>
            </a:r>
          </a:p>
          <a:p>
            <a:pPr lvl="2"/>
            <a:r>
              <a:rPr lang="nl-NL" noProof="0" dirty="0" err="1"/>
              <a:t>Third</a:t>
            </a:r>
            <a:r>
              <a:rPr lang="nl-NL" noProof="0" dirty="0"/>
              <a:t> level</a:t>
            </a:r>
          </a:p>
          <a:p>
            <a:pPr lvl="3"/>
            <a:r>
              <a:rPr lang="nl-NL" noProof="0" dirty="0" err="1"/>
              <a:t>Fourth</a:t>
            </a:r>
            <a:r>
              <a:rPr lang="nl-NL" noProof="0" dirty="0"/>
              <a:t> level</a:t>
            </a:r>
          </a:p>
          <a:p>
            <a:pPr lvl="4"/>
            <a:r>
              <a:rPr lang="nl-NL" noProof="0" dirty="0" err="1"/>
              <a:t>Fifth</a:t>
            </a:r>
            <a:r>
              <a:rPr lang="nl-NL" noProof="0" dirty="0"/>
              <a:t> level</a:t>
            </a:r>
          </a:p>
        </p:txBody>
      </p:sp>
      <p:sp>
        <p:nvSpPr>
          <p:cNvPr id="7" name="Text Placeholder 2">
            <a:extLst>
              <a:ext uri="{FF2B5EF4-FFF2-40B4-BE49-F238E27FC236}">
                <a16:creationId xmlns:a16="http://schemas.microsoft.com/office/drawing/2014/main" id="{7B138BCD-6FB6-4A94-BDCA-41A5D7735307}"/>
              </a:ext>
            </a:extLst>
          </p:cNvPr>
          <p:cNvSpPr>
            <a:spLocks noGrp="1"/>
          </p:cNvSpPr>
          <p:nvPr>
            <p:ph type="body" idx="12"/>
          </p:nvPr>
        </p:nvSpPr>
        <p:spPr>
          <a:xfrm>
            <a:off x="911752" y="1800000"/>
            <a:ext cx="4964685" cy="307777"/>
          </a:xfrm>
          <a:noFill/>
        </p:spPr>
        <p:txBody>
          <a:bodyPr vert="horz" wrap="square" lIns="0" tIns="0" rIns="0" bIns="0" rtlCol="0" anchor="t" anchorCtr="0">
            <a:spAutoFit/>
          </a:bodyPr>
          <a:lstStyle>
            <a:lvl1pPr>
              <a:defRPr lang="nl-NL" sz="2000" b="1" noProof="0" dirty="0">
                <a:solidFill>
                  <a:schemeClr val="tx1"/>
                </a:solidFill>
              </a:defRPr>
            </a:lvl1pPr>
          </a:lstStyle>
          <a:p>
            <a:pPr lvl="0"/>
            <a:r>
              <a:rPr lang="nl-NL" noProof="0" dirty="0"/>
              <a:t>Click </a:t>
            </a:r>
            <a:r>
              <a:rPr lang="nl-NL" noProof="0" dirty="0" err="1"/>
              <a:t>to</a:t>
            </a:r>
            <a:r>
              <a:rPr lang="nl-NL" noProof="0" dirty="0"/>
              <a:t> </a:t>
            </a:r>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
        <p:nvSpPr>
          <p:cNvPr id="8" name="Text Placeholder 4">
            <a:extLst>
              <a:ext uri="{FF2B5EF4-FFF2-40B4-BE49-F238E27FC236}">
                <a16:creationId xmlns:a16="http://schemas.microsoft.com/office/drawing/2014/main" id="{A27ABB63-ADFD-4D7E-AD8C-8CD4CE3AA992}"/>
              </a:ext>
            </a:extLst>
          </p:cNvPr>
          <p:cNvSpPr>
            <a:spLocks noGrp="1"/>
          </p:cNvSpPr>
          <p:nvPr>
            <p:ph type="body" sz="quarter" idx="3"/>
          </p:nvPr>
        </p:nvSpPr>
        <p:spPr>
          <a:xfrm>
            <a:off x="6333869" y="1800000"/>
            <a:ext cx="4955532" cy="307777"/>
          </a:xfrm>
        </p:spPr>
        <p:txBody>
          <a:bodyPr anchor="t" anchorCtr="0"/>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a:t>Click </a:t>
            </a:r>
            <a:r>
              <a:rPr lang="nl-NL" noProof="0" dirty="0" err="1"/>
              <a:t>to</a:t>
            </a:r>
            <a:r>
              <a:rPr lang="nl-NL" noProof="0" dirty="0"/>
              <a:t> </a:t>
            </a:r>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pic>
        <p:nvPicPr>
          <p:cNvPr id="13" name="Picture 12">
            <a:extLst>
              <a:ext uri="{FF2B5EF4-FFF2-40B4-BE49-F238E27FC236}">
                <a16:creationId xmlns:a16="http://schemas.microsoft.com/office/drawing/2014/main" id="{EED3F9ED-DFA7-4434-BEC0-90BBF6DCB4F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048534" y="5707099"/>
            <a:ext cx="698422" cy="699880"/>
          </a:xfrm>
          <a:prstGeom prst="rect">
            <a:avLst/>
          </a:prstGeom>
        </p:spPr>
      </p:pic>
      <p:sp>
        <p:nvSpPr>
          <p:cNvPr id="15" name="Slide Number Placeholder 5">
            <a:extLst>
              <a:ext uri="{FF2B5EF4-FFF2-40B4-BE49-F238E27FC236}">
                <a16:creationId xmlns:a16="http://schemas.microsoft.com/office/drawing/2014/main" id="{5501C3A0-16E0-4A78-84F5-C11DC58A3B5B}"/>
              </a:ext>
            </a:extLst>
          </p:cNvPr>
          <p:cNvSpPr>
            <a:spLocks noGrp="1"/>
          </p:cNvSpPr>
          <p:nvPr>
            <p:ph type="sldNum" sz="quarter" idx="4"/>
          </p:nvPr>
        </p:nvSpPr>
        <p:spPr>
          <a:xfrm>
            <a:off x="361178" y="6246000"/>
            <a:ext cx="398364" cy="153888"/>
          </a:xfrm>
          <a:prstGeom prst="rect">
            <a:avLst/>
          </a:prstGeom>
        </p:spPr>
        <p:txBody>
          <a:bodyPr vert="horz" wrap="square" lIns="0" tIns="0" rIns="0" bIns="0" rtlCol="0" anchor="ctr">
            <a:spAutoFit/>
          </a:bodyPr>
          <a:lstStyle>
            <a:lvl1pPr algn="l">
              <a:defRPr sz="1000">
                <a:solidFill>
                  <a:schemeClr val="tx2"/>
                </a:solidFill>
              </a:defRPr>
            </a:lvl1pPr>
          </a:lstStyle>
          <a:p>
            <a:fld id="{01ED78C3-3A94-496B-9AE8-73034C580365}" type="slidenum">
              <a:rPr lang="en-US" smtClean="0"/>
              <a:pPr/>
              <a:t>‹#›</a:t>
            </a:fld>
            <a:endParaRPr lang="en-US"/>
          </a:p>
        </p:txBody>
      </p:sp>
    </p:spTree>
    <p:extLst>
      <p:ext uri="{BB962C8B-B14F-4D97-AF65-F5344CB8AC3E}">
        <p14:creationId xmlns:p14="http://schemas.microsoft.com/office/powerpoint/2010/main" val="22790913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 IV /  3 kolomme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1207281-7174-4E63-A4A8-57E771CBBED5}"/>
              </a:ext>
            </a:extLst>
          </p:cNvPr>
          <p:cNvGraphicFramePr>
            <a:graphicFrameLocks noChangeAspect="1"/>
          </p:cNvGraphicFramePr>
          <p:nvPr userDrawn="1">
            <p:custDataLst>
              <p:tags r:id="rId1"/>
            </p:custDataLst>
            <p:extLst>
              <p:ext uri="{D42A27DB-BD31-4B8C-83A1-F6EECF244321}">
                <p14:modId xmlns:p14="http://schemas.microsoft.com/office/powerpoint/2010/main" val="501543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9" imgH="429" progId="TCLayout.ActiveDocument.1">
                  <p:embed/>
                </p:oleObj>
              </mc:Choice>
              <mc:Fallback>
                <p:oleObj name="think-cell Slide" r:id="rId3" imgW="429" imgH="429" progId="TCLayout.ActiveDocument.1">
                  <p:embed/>
                  <p:pic>
                    <p:nvPicPr>
                      <p:cNvPr id="3" name="Object 2" hidden="1">
                        <a:extLst>
                          <a:ext uri="{FF2B5EF4-FFF2-40B4-BE49-F238E27FC236}">
                            <a16:creationId xmlns:a16="http://schemas.microsoft.com/office/drawing/2014/main" id="{91207281-7174-4E63-A4A8-57E771CBBE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AE3C7C0F-6A02-40B7-AA30-4A00A6BA7BA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itle 3">
            <a:extLst>
              <a:ext uri="{FF2B5EF4-FFF2-40B4-BE49-F238E27FC236}">
                <a16:creationId xmlns:a16="http://schemas.microsoft.com/office/drawing/2014/main" id="{3B923F25-6F58-49CB-AF4B-4E28E6754AC5}"/>
              </a:ext>
            </a:extLst>
          </p:cNvPr>
          <p:cNvSpPr>
            <a:spLocks noGrp="1"/>
          </p:cNvSpPr>
          <p:nvPr>
            <p:ph type="title"/>
          </p:nvPr>
        </p:nvSpPr>
        <p:spPr/>
        <p:txBody>
          <a:bodyPr vert="horz"/>
          <a:lstStyle/>
          <a:p>
            <a:r>
              <a:rPr lang="en-US"/>
              <a:t>Click to edit Master title style</a:t>
            </a:r>
            <a:endParaRPr lang="en-GB"/>
          </a:p>
        </p:txBody>
      </p:sp>
      <p:sp>
        <p:nvSpPr>
          <p:cNvPr id="15" name="Content Placeholder 2">
            <a:extLst>
              <a:ext uri="{FF2B5EF4-FFF2-40B4-BE49-F238E27FC236}">
                <a16:creationId xmlns:a16="http://schemas.microsoft.com/office/drawing/2014/main" id="{102740DE-7E42-42C5-AFA5-5BDD376E2B57}"/>
              </a:ext>
            </a:extLst>
          </p:cNvPr>
          <p:cNvSpPr>
            <a:spLocks noGrp="1"/>
          </p:cNvSpPr>
          <p:nvPr>
            <p:ph sz="half" idx="12"/>
          </p:nvPr>
        </p:nvSpPr>
        <p:spPr>
          <a:xfrm>
            <a:off x="911753" y="1800000"/>
            <a:ext cx="3218425" cy="3282360"/>
          </a:xfrm>
        </p:spPr>
        <p:txBody>
          <a:bodyPr>
            <a:noAutofit/>
          </a:bodyPr>
          <a:lstStyle>
            <a:lvl1pPr>
              <a:defRPr sz="2000"/>
            </a:lvl1pPr>
            <a:lvl2pPr>
              <a:defRPr sz="2000"/>
            </a:lvl2pPr>
            <a:lvl3pPr>
              <a:defRPr sz="1800"/>
            </a:lvl3pPr>
            <a:lvl4pPr>
              <a:defRPr sz="1800"/>
            </a:lvl4pPr>
            <a:lvl5pPr>
              <a:defRPr sz="1800"/>
            </a:lvl5pPr>
          </a:lstStyle>
          <a:p>
            <a:pPr lvl="0"/>
            <a:r>
              <a:rPr lang="nl-NL" noProof="0" dirty="0"/>
              <a:t>Click </a:t>
            </a:r>
            <a:r>
              <a:rPr lang="nl-NL" noProof="0" dirty="0" err="1"/>
              <a:t>to</a:t>
            </a:r>
            <a:r>
              <a:rPr lang="nl-NL" noProof="0" dirty="0"/>
              <a:t> </a:t>
            </a:r>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a:p>
            <a:pPr lvl="1"/>
            <a:r>
              <a:rPr lang="nl-NL" noProof="0" dirty="0"/>
              <a:t>Second level</a:t>
            </a:r>
          </a:p>
          <a:p>
            <a:pPr lvl="2"/>
            <a:r>
              <a:rPr lang="nl-NL" noProof="0" dirty="0" err="1"/>
              <a:t>Third</a:t>
            </a:r>
            <a:r>
              <a:rPr lang="nl-NL" noProof="0" dirty="0"/>
              <a:t> level</a:t>
            </a:r>
          </a:p>
          <a:p>
            <a:pPr lvl="3"/>
            <a:r>
              <a:rPr lang="nl-NL" noProof="0" dirty="0" err="1"/>
              <a:t>Fourth</a:t>
            </a:r>
            <a:r>
              <a:rPr lang="nl-NL" noProof="0" dirty="0"/>
              <a:t> level</a:t>
            </a:r>
          </a:p>
          <a:p>
            <a:pPr lvl="4"/>
            <a:r>
              <a:rPr lang="nl-NL" noProof="0" dirty="0" err="1"/>
              <a:t>Fifth</a:t>
            </a:r>
            <a:r>
              <a:rPr lang="nl-NL" noProof="0" dirty="0"/>
              <a:t> level</a:t>
            </a:r>
          </a:p>
        </p:txBody>
      </p:sp>
      <p:sp>
        <p:nvSpPr>
          <p:cNvPr id="16" name="Content Placeholder 3">
            <a:extLst>
              <a:ext uri="{FF2B5EF4-FFF2-40B4-BE49-F238E27FC236}">
                <a16:creationId xmlns:a16="http://schemas.microsoft.com/office/drawing/2014/main" id="{C95D41E6-5245-4A54-A593-18C3AD6BEE4E}"/>
              </a:ext>
            </a:extLst>
          </p:cNvPr>
          <p:cNvSpPr>
            <a:spLocks noGrp="1"/>
          </p:cNvSpPr>
          <p:nvPr>
            <p:ph sz="half" idx="2"/>
          </p:nvPr>
        </p:nvSpPr>
        <p:spPr>
          <a:xfrm>
            <a:off x="4491365" y="1800000"/>
            <a:ext cx="3218425" cy="3282360"/>
          </a:xfrm>
        </p:spPr>
        <p:txBody>
          <a:bodyPr>
            <a:noAutofit/>
          </a:bodyPr>
          <a:lstStyle>
            <a:lvl1pPr>
              <a:defRPr sz="2000"/>
            </a:lvl1pPr>
            <a:lvl2pPr>
              <a:defRPr sz="2000"/>
            </a:lvl2pPr>
            <a:lvl3pPr>
              <a:defRPr sz="1800"/>
            </a:lvl3pPr>
            <a:lvl4pPr>
              <a:defRPr sz="1800"/>
            </a:lvl4pPr>
            <a:lvl5pPr>
              <a:defRPr sz="1800"/>
            </a:lvl5pPr>
          </a:lstStyle>
          <a:p>
            <a:pPr lvl="0"/>
            <a:r>
              <a:rPr lang="nl-NL" noProof="0" dirty="0"/>
              <a:t>Click </a:t>
            </a:r>
            <a:r>
              <a:rPr lang="nl-NL" noProof="0" dirty="0" err="1"/>
              <a:t>to</a:t>
            </a:r>
            <a:r>
              <a:rPr lang="nl-NL" noProof="0" dirty="0"/>
              <a:t> </a:t>
            </a:r>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a:p>
            <a:pPr lvl="1"/>
            <a:r>
              <a:rPr lang="nl-NL" noProof="0" dirty="0"/>
              <a:t>Second level</a:t>
            </a:r>
          </a:p>
          <a:p>
            <a:pPr lvl="2"/>
            <a:r>
              <a:rPr lang="nl-NL" noProof="0" dirty="0" err="1"/>
              <a:t>Third</a:t>
            </a:r>
            <a:r>
              <a:rPr lang="nl-NL" noProof="0" dirty="0"/>
              <a:t> level</a:t>
            </a:r>
          </a:p>
          <a:p>
            <a:pPr lvl="3"/>
            <a:r>
              <a:rPr lang="nl-NL" noProof="0" dirty="0" err="1"/>
              <a:t>Fourth</a:t>
            </a:r>
            <a:r>
              <a:rPr lang="nl-NL" noProof="0" dirty="0"/>
              <a:t> level</a:t>
            </a:r>
          </a:p>
          <a:p>
            <a:pPr lvl="4"/>
            <a:r>
              <a:rPr lang="nl-NL" noProof="0" dirty="0" err="1"/>
              <a:t>Fifth</a:t>
            </a:r>
            <a:r>
              <a:rPr lang="nl-NL" noProof="0" dirty="0"/>
              <a:t> level</a:t>
            </a:r>
          </a:p>
        </p:txBody>
      </p:sp>
      <p:sp>
        <p:nvSpPr>
          <p:cNvPr id="19" name="Content Placeholder 3">
            <a:extLst>
              <a:ext uri="{FF2B5EF4-FFF2-40B4-BE49-F238E27FC236}">
                <a16:creationId xmlns:a16="http://schemas.microsoft.com/office/drawing/2014/main" id="{64B5CA56-C98F-445E-9ED7-EF910EB96596}"/>
              </a:ext>
            </a:extLst>
          </p:cNvPr>
          <p:cNvSpPr>
            <a:spLocks noGrp="1"/>
          </p:cNvSpPr>
          <p:nvPr>
            <p:ph sz="half" idx="14"/>
          </p:nvPr>
        </p:nvSpPr>
        <p:spPr>
          <a:xfrm>
            <a:off x="8070976" y="1800000"/>
            <a:ext cx="3218425" cy="3282360"/>
          </a:xfrm>
        </p:spPr>
        <p:txBody>
          <a:bodyPr>
            <a:noAutofit/>
          </a:bodyPr>
          <a:lstStyle>
            <a:lvl1pPr>
              <a:defRPr sz="2000"/>
            </a:lvl1pPr>
            <a:lvl2pPr>
              <a:defRPr sz="2000"/>
            </a:lvl2pPr>
            <a:lvl3pPr>
              <a:defRPr sz="1800"/>
            </a:lvl3pPr>
            <a:lvl4pPr>
              <a:defRPr sz="1800"/>
            </a:lvl4pPr>
            <a:lvl5pPr>
              <a:defRPr sz="1800"/>
            </a:lvl5pPr>
          </a:lstStyle>
          <a:p>
            <a:pPr lvl="0"/>
            <a:r>
              <a:rPr lang="nl-NL" noProof="0" dirty="0"/>
              <a:t>Click </a:t>
            </a:r>
            <a:r>
              <a:rPr lang="nl-NL" noProof="0" dirty="0" err="1"/>
              <a:t>to</a:t>
            </a:r>
            <a:r>
              <a:rPr lang="nl-NL" noProof="0" dirty="0"/>
              <a:t> </a:t>
            </a:r>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a:p>
            <a:pPr lvl="1"/>
            <a:r>
              <a:rPr lang="nl-NL" noProof="0" dirty="0"/>
              <a:t>Second level</a:t>
            </a:r>
          </a:p>
          <a:p>
            <a:pPr lvl="2"/>
            <a:r>
              <a:rPr lang="nl-NL" noProof="0" dirty="0" err="1"/>
              <a:t>Third</a:t>
            </a:r>
            <a:r>
              <a:rPr lang="nl-NL" noProof="0" dirty="0"/>
              <a:t> level</a:t>
            </a:r>
          </a:p>
          <a:p>
            <a:pPr lvl="3"/>
            <a:r>
              <a:rPr lang="nl-NL" noProof="0" dirty="0" err="1"/>
              <a:t>Fourth</a:t>
            </a:r>
            <a:r>
              <a:rPr lang="nl-NL" noProof="0" dirty="0"/>
              <a:t> level</a:t>
            </a:r>
          </a:p>
          <a:p>
            <a:pPr lvl="4"/>
            <a:r>
              <a:rPr lang="nl-NL" noProof="0" dirty="0" err="1"/>
              <a:t>Fifth</a:t>
            </a:r>
            <a:r>
              <a:rPr lang="nl-NL" noProof="0" dirty="0"/>
              <a:t> level</a:t>
            </a:r>
          </a:p>
        </p:txBody>
      </p:sp>
      <p:pic>
        <p:nvPicPr>
          <p:cNvPr id="17" name="Picture 16">
            <a:extLst>
              <a:ext uri="{FF2B5EF4-FFF2-40B4-BE49-F238E27FC236}">
                <a16:creationId xmlns:a16="http://schemas.microsoft.com/office/drawing/2014/main" id="{96F2B1DC-6423-4979-A13B-04A3C2CF085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048534" y="5707099"/>
            <a:ext cx="698422" cy="699880"/>
          </a:xfrm>
          <a:prstGeom prst="rect">
            <a:avLst/>
          </a:prstGeom>
        </p:spPr>
      </p:pic>
      <p:sp>
        <p:nvSpPr>
          <p:cNvPr id="11" name="Slide Number Placeholder 5">
            <a:extLst>
              <a:ext uri="{FF2B5EF4-FFF2-40B4-BE49-F238E27FC236}">
                <a16:creationId xmlns:a16="http://schemas.microsoft.com/office/drawing/2014/main" id="{4385988F-950C-4D31-9963-56227A762B06}"/>
              </a:ext>
            </a:extLst>
          </p:cNvPr>
          <p:cNvSpPr>
            <a:spLocks noGrp="1"/>
          </p:cNvSpPr>
          <p:nvPr>
            <p:ph type="sldNum" sz="quarter" idx="4"/>
          </p:nvPr>
        </p:nvSpPr>
        <p:spPr>
          <a:xfrm>
            <a:off x="361178" y="6246000"/>
            <a:ext cx="398364" cy="153888"/>
          </a:xfrm>
          <a:prstGeom prst="rect">
            <a:avLst/>
          </a:prstGeom>
        </p:spPr>
        <p:txBody>
          <a:bodyPr vert="horz" wrap="square" lIns="0" tIns="0" rIns="0" bIns="0" rtlCol="0" anchor="ctr">
            <a:spAutoFit/>
          </a:bodyPr>
          <a:lstStyle>
            <a:lvl1pPr algn="l">
              <a:defRPr sz="1000">
                <a:solidFill>
                  <a:schemeClr val="tx2"/>
                </a:solidFill>
              </a:defRPr>
            </a:lvl1pPr>
          </a:lstStyle>
          <a:p>
            <a:fld id="{01ED78C3-3A94-496B-9AE8-73034C580365}" type="slidenum">
              <a:rPr lang="en-US" smtClean="0"/>
              <a:pPr/>
              <a:t>‹#›</a:t>
            </a:fld>
            <a:endParaRPr lang="en-US"/>
          </a:p>
        </p:txBody>
      </p:sp>
    </p:spTree>
    <p:extLst>
      <p:ext uri="{BB962C8B-B14F-4D97-AF65-F5344CB8AC3E}">
        <p14:creationId xmlns:p14="http://schemas.microsoft.com/office/powerpoint/2010/main" val="41952846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kst - beeld VI">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BD04ED7-7E04-4F56-88BB-853A3038FACB}"/>
              </a:ext>
            </a:extLst>
          </p:cNvPr>
          <p:cNvGraphicFramePr>
            <a:graphicFrameLocks noChangeAspect="1"/>
          </p:cNvGraphicFramePr>
          <p:nvPr userDrawn="1">
            <p:custDataLst>
              <p:tags r:id="rId1"/>
            </p:custDataLst>
            <p:extLst>
              <p:ext uri="{D42A27DB-BD31-4B8C-83A1-F6EECF244321}">
                <p14:modId xmlns:p14="http://schemas.microsoft.com/office/powerpoint/2010/main" val="2815432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9" imgH="429" progId="TCLayout.ActiveDocument.1">
                  <p:embed/>
                </p:oleObj>
              </mc:Choice>
              <mc:Fallback>
                <p:oleObj name="think-cell Slide" r:id="rId3" imgW="429" imgH="429" progId="TCLayout.ActiveDocument.1">
                  <p:embed/>
                  <p:pic>
                    <p:nvPicPr>
                      <p:cNvPr id="4" name="Object 3" hidden="1">
                        <a:extLst>
                          <a:ext uri="{FF2B5EF4-FFF2-40B4-BE49-F238E27FC236}">
                            <a16:creationId xmlns:a16="http://schemas.microsoft.com/office/drawing/2014/main" id="{CBD04ED7-7E04-4F56-88BB-853A3038FA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B7B1531E-2362-4B7B-B52A-C2D49C46CC8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769DEBB-A118-45FB-BA81-AE661A598514}"/>
              </a:ext>
            </a:extLst>
          </p:cNvPr>
          <p:cNvSpPr>
            <a:spLocks noGrp="1"/>
          </p:cNvSpPr>
          <p:nvPr>
            <p:ph type="title"/>
          </p:nvPr>
        </p:nvSpPr>
        <p:spPr/>
        <p:txBody>
          <a:bodyPr vert="horz"/>
          <a:lstStyle/>
          <a:p>
            <a:r>
              <a:rPr lang="nl-NL" noProof="0"/>
              <a:t>Click to edit Master title style</a:t>
            </a:r>
          </a:p>
        </p:txBody>
      </p:sp>
      <p:sp>
        <p:nvSpPr>
          <p:cNvPr id="17" name="Content Placeholder 2">
            <a:extLst>
              <a:ext uri="{FF2B5EF4-FFF2-40B4-BE49-F238E27FC236}">
                <a16:creationId xmlns:a16="http://schemas.microsoft.com/office/drawing/2014/main" id="{33820377-9A1B-4ECC-8A48-F3EA722169E9}"/>
              </a:ext>
            </a:extLst>
          </p:cNvPr>
          <p:cNvSpPr>
            <a:spLocks noGrp="1"/>
          </p:cNvSpPr>
          <p:nvPr>
            <p:ph sz="half" idx="1"/>
          </p:nvPr>
        </p:nvSpPr>
        <p:spPr>
          <a:xfrm>
            <a:off x="911752" y="1800000"/>
            <a:ext cx="4964685" cy="3282361"/>
          </a:xfrm>
        </p:spPr>
        <p:txBody>
          <a:bodyPr>
            <a:noAutofit/>
          </a:bodyPr>
          <a:lstStyle>
            <a:lvl1pPr>
              <a:defRPr sz="2000"/>
            </a:lvl1pPr>
            <a:lvl2pPr>
              <a:defRPr sz="2000"/>
            </a:lvl2pPr>
            <a:lvl3pPr>
              <a:defRPr sz="1800"/>
            </a:lvl3pPr>
            <a:lvl4pPr>
              <a:defRPr sz="1800"/>
            </a:lvl4pPr>
            <a:lvl5pPr>
              <a:defRPr sz="1800"/>
            </a:lvl5pPr>
          </a:lstStyle>
          <a:p>
            <a:pPr lvl="0"/>
            <a:r>
              <a:rPr lang="nl-NL" noProof="0" dirty="0"/>
              <a:t>Click </a:t>
            </a:r>
            <a:r>
              <a:rPr lang="nl-NL" noProof="0" dirty="0" err="1"/>
              <a:t>to</a:t>
            </a:r>
            <a:r>
              <a:rPr lang="nl-NL" noProof="0" dirty="0"/>
              <a:t> </a:t>
            </a:r>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a:p>
            <a:pPr lvl="1"/>
            <a:r>
              <a:rPr lang="nl-NL" noProof="0" dirty="0"/>
              <a:t>Second level</a:t>
            </a:r>
          </a:p>
          <a:p>
            <a:pPr lvl="2"/>
            <a:r>
              <a:rPr lang="nl-NL" noProof="0" dirty="0" err="1"/>
              <a:t>Third</a:t>
            </a:r>
            <a:r>
              <a:rPr lang="nl-NL" noProof="0" dirty="0"/>
              <a:t> level</a:t>
            </a:r>
          </a:p>
          <a:p>
            <a:pPr lvl="3"/>
            <a:r>
              <a:rPr lang="nl-NL" noProof="0" dirty="0" err="1"/>
              <a:t>Fourth</a:t>
            </a:r>
            <a:r>
              <a:rPr lang="nl-NL" noProof="0" dirty="0"/>
              <a:t> level</a:t>
            </a:r>
          </a:p>
          <a:p>
            <a:pPr lvl="4"/>
            <a:r>
              <a:rPr lang="nl-NL" noProof="0" dirty="0" err="1"/>
              <a:t>Fifth</a:t>
            </a:r>
            <a:r>
              <a:rPr lang="nl-NL" noProof="0" dirty="0"/>
              <a:t> level</a:t>
            </a:r>
          </a:p>
        </p:txBody>
      </p:sp>
      <p:sp>
        <p:nvSpPr>
          <p:cNvPr id="13" name="Picture Placeholder 4">
            <a:extLst>
              <a:ext uri="{FF2B5EF4-FFF2-40B4-BE49-F238E27FC236}">
                <a16:creationId xmlns:a16="http://schemas.microsoft.com/office/drawing/2014/main" id="{78CC1748-C045-4869-85BE-8976EDDAC688}"/>
              </a:ext>
            </a:extLst>
          </p:cNvPr>
          <p:cNvSpPr>
            <a:spLocks noGrp="1"/>
          </p:cNvSpPr>
          <p:nvPr>
            <p:ph type="pic" sz="quarter" idx="10"/>
          </p:nvPr>
        </p:nvSpPr>
        <p:spPr>
          <a:xfrm>
            <a:off x="6324600" y="1800224"/>
            <a:ext cx="4964113" cy="3012408"/>
          </a:xfrm>
          <a:solidFill>
            <a:schemeClr val="bg1">
              <a:lumMod val="85000"/>
            </a:schemeClr>
          </a:solidFill>
        </p:spPr>
        <p:txBody>
          <a:bodyPr tIns="360000">
            <a:noAutofit/>
          </a:bodyPr>
          <a:lstStyle>
            <a:lvl1pPr algn="ctr">
              <a:defRPr sz="1400"/>
            </a:lvl1pPr>
          </a:lstStyle>
          <a:p>
            <a:endParaRPr lang="en-GB"/>
          </a:p>
        </p:txBody>
      </p:sp>
      <p:pic>
        <p:nvPicPr>
          <p:cNvPr id="14" name="Picture 13">
            <a:extLst>
              <a:ext uri="{FF2B5EF4-FFF2-40B4-BE49-F238E27FC236}">
                <a16:creationId xmlns:a16="http://schemas.microsoft.com/office/drawing/2014/main" id="{C60080E2-F360-4CE6-A833-4A9529E9EB7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048534" y="5707099"/>
            <a:ext cx="698422" cy="699880"/>
          </a:xfrm>
          <a:prstGeom prst="rect">
            <a:avLst/>
          </a:prstGeom>
        </p:spPr>
      </p:pic>
      <p:sp>
        <p:nvSpPr>
          <p:cNvPr id="10" name="Slide Number Placeholder 5">
            <a:extLst>
              <a:ext uri="{FF2B5EF4-FFF2-40B4-BE49-F238E27FC236}">
                <a16:creationId xmlns:a16="http://schemas.microsoft.com/office/drawing/2014/main" id="{2BB5F01A-E3C5-4E16-8F1F-C87954680BEC}"/>
              </a:ext>
            </a:extLst>
          </p:cNvPr>
          <p:cNvSpPr>
            <a:spLocks noGrp="1"/>
          </p:cNvSpPr>
          <p:nvPr>
            <p:ph type="sldNum" sz="quarter" idx="4"/>
          </p:nvPr>
        </p:nvSpPr>
        <p:spPr>
          <a:xfrm>
            <a:off x="361178" y="6246000"/>
            <a:ext cx="398364" cy="153888"/>
          </a:xfrm>
          <a:prstGeom prst="rect">
            <a:avLst/>
          </a:prstGeom>
        </p:spPr>
        <p:txBody>
          <a:bodyPr vert="horz" wrap="square" lIns="0" tIns="0" rIns="0" bIns="0" rtlCol="0" anchor="ctr">
            <a:spAutoFit/>
          </a:bodyPr>
          <a:lstStyle>
            <a:lvl1pPr algn="l">
              <a:defRPr sz="1000">
                <a:solidFill>
                  <a:schemeClr val="tx2"/>
                </a:solidFill>
              </a:defRPr>
            </a:lvl1pPr>
          </a:lstStyle>
          <a:p>
            <a:fld id="{01ED78C3-3A94-496B-9AE8-73034C580365}" type="slidenum">
              <a:rPr lang="en-US" smtClean="0"/>
              <a:pPr/>
              <a:t>‹#›</a:t>
            </a:fld>
            <a:endParaRPr lang="en-US"/>
          </a:p>
        </p:txBody>
      </p:sp>
    </p:spTree>
    <p:extLst>
      <p:ext uri="{BB962C8B-B14F-4D97-AF65-F5344CB8AC3E}">
        <p14:creationId xmlns:p14="http://schemas.microsoft.com/office/powerpoint/2010/main" val="425941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 - grafiek I">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FCF338E-090D-4667-A5E3-78FF2BD0E39C}"/>
              </a:ext>
            </a:extLst>
          </p:cNvPr>
          <p:cNvGraphicFramePr>
            <a:graphicFrameLocks noChangeAspect="1"/>
          </p:cNvGraphicFramePr>
          <p:nvPr userDrawn="1">
            <p:custDataLst>
              <p:tags r:id="rId1"/>
            </p:custDataLst>
            <p:extLst>
              <p:ext uri="{D42A27DB-BD31-4B8C-83A1-F6EECF244321}">
                <p14:modId xmlns:p14="http://schemas.microsoft.com/office/powerpoint/2010/main" val="1759205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9" imgH="429" progId="TCLayout.ActiveDocument.1">
                  <p:embed/>
                </p:oleObj>
              </mc:Choice>
              <mc:Fallback>
                <p:oleObj name="think-cell Slide" r:id="rId3" imgW="429" imgH="429" progId="TCLayout.ActiveDocument.1">
                  <p:embed/>
                  <p:pic>
                    <p:nvPicPr>
                      <p:cNvPr id="6" name="Object 5" hidden="1">
                        <a:extLst>
                          <a:ext uri="{FF2B5EF4-FFF2-40B4-BE49-F238E27FC236}">
                            <a16:creationId xmlns:a16="http://schemas.microsoft.com/office/drawing/2014/main" id="{DFCF338E-090D-4667-A5E3-78FF2BD0E3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BF15BC4-E508-4D1E-9E37-86FACAA8EC9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769DEBB-A118-45FB-BA81-AE661A598514}"/>
              </a:ext>
            </a:extLst>
          </p:cNvPr>
          <p:cNvSpPr>
            <a:spLocks noGrp="1"/>
          </p:cNvSpPr>
          <p:nvPr>
            <p:ph type="title"/>
          </p:nvPr>
        </p:nvSpPr>
        <p:spPr/>
        <p:txBody>
          <a:bodyPr vert="horz"/>
          <a:lstStyle/>
          <a:p>
            <a:r>
              <a:rPr lang="nl-NL" noProof="0"/>
              <a:t>Click to edit Master title style</a:t>
            </a:r>
          </a:p>
        </p:txBody>
      </p:sp>
      <p:sp>
        <p:nvSpPr>
          <p:cNvPr id="3" name="Content Placeholder 2">
            <a:extLst>
              <a:ext uri="{FF2B5EF4-FFF2-40B4-BE49-F238E27FC236}">
                <a16:creationId xmlns:a16="http://schemas.microsoft.com/office/drawing/2014/main" id="{997FB42C-C462-407A-82EC-2BBD05640F3F}"/>
              </a:ext>
            </a:extLst>
          </p:cNvPr>
          <p:cNvSpPr>
            <a:spLocks noGrp="1"/>
          </p:cNvSpPr>
          <p:nvPr>
            <p:ph sz="half" idx="1"/>
          </p:nvPr>
        </p:nvSpPr>
        <p:spPr>
          <a:xfrm>
            <a:off x="911752" y="2520000"/>
            <a:ext cx="4964685" cy="2767130"/>
          </a:xfrm>
        </p:spPr>
        <p:txBody>
          <a:bodyPr>
            <a:noAutofit/>
          </a:bodyPr>
          <a:lstStyle>
            <a:lvl1pPr>
              <a:defRPr sz="2000"/>
            </a:lvl1pPr>
            <a:lvl2pPr>
              <a:defRPr sz="2000"/>
            </a:lvl2pPr>
            <a:lvl3pPr>
              <a:defRPr sz="1800"/>
            </a:lvl3pPr>
            <a:lvl4pPr>
              <a:defRPr sz="1800"/>
            </a:lvl4pPr>
            <a:lvl5pPr>
              <a:defRPr sz="1800"/>
            </a:lvl5pPr>
          </a:lstStyle>
          <a:p>
            <a:pPr lvl="0"/>
            <a:r>
              <a:rPr lang="nl-NL" noProof="0" dirty="0"/>
              <a:t>Click </a:t>
            </a:r>
            <a:r>
              <a:rPr lang="nl-NL" noProof="0" dirty="0" err="1"/>
              <a:t>to</a:t>
            </a:r>
            <a:r>
              <a:rPr lang="nl-NL" noProof="0" dirty="0"/>
              <a:t> </a:t>
            </a:r>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a:p>
            <a:pPr lvl="1"/>
            <a:r>
              <a:rPr lang="nl-NL" noProof="0" dirty="0"/>
              <a:t>Second level</a:t>
            </a:r>
          </a:p>
          <a:p>
            <a:pPr lvl="2"/>
            <a:r>
              <a:rPr lang="nl-NL" noProof="0" dirty="0" err="1"/>
              <a:t>Third</a:t>
            </a:r>
            <a:r>
              <a:rPr lang="nl-NL" noProof="0" dirty="0"/>
              <a:t> level</a:t>
            </a:r>
          </a:p>
          <a:p>
            <a:pPr lvl="3"/>
            <a:r>
              <a:rPr lang="nl-NL" noProof="0" dirty="0" err="1"/>
              <a:t>Fourth</a:t>
            </a:r>
            <a:r>
              <a:rPr lang="nl-NL" noProof="0" dirty="0"/>
              <a:t> level</a:t>
            </a:r>
          </a:p>
          <a:p>
            <a:pPr lvl="4"/>
            <a:r>
              <a:rPr lang="nl-NL" noProof="0" dirty="0" err="1"/>
              <a:t>Fifth</a:t>
            </a:r>
            <a:r>
              <a:rPr lang="nl-NL" noProof="0" dirty="0"/>
              <a:t> level</a:t>
            </a:r>
          </a:p>
        </p:txBody>
      </p:sp>
      <p:sp>
        <p:nvSpPr>
          <p:cNvPr id="7" name="Text Placeholder 2">
            <a:extLst>
              <a:ext uri="{FF2B5EF4-FFF2-40B4-BE49-F238E27FC236}">
                <a16:creationId xmlns:a16="http://schemas.microsoft.com/office/drawing/2014/main" id="{7B138BCD-6FB6-4A94-BDCA-41A5D7735307}"/>
              </a:ext>
            </a:extLst>
          </p:cNvPr>
          <p:cNvSpPr>
            <a:spLocks noGrp="1"/>
          </p:cNvSpPr>
          <p:nvPr>
            <p:ph type="body" idx="12"/>
          </p:nvPr>
        </p:nvSpPr>
        <p:spPr>
          <a:xfrm>
            <a:off x="911752" y="1800000"/>
            <a:ext cx="4964685" cy="307777"/>
          </a:xfrm>
        </p:spPr>
        <p:txBody>
          <a:bodyPr anchor="t" anchorCtr="0"/>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a:t>Click </a:t>
            </a:r>
            <a:r>
              <a:rPr lang="nl-NL" noProof="0" dirty="0" err="1"/>
              <a:t>to</a:t>
            </a:r>
            <a:r>
              <a:rPr lang="nl-NL" noProof="0" dirty="0"/>
              <a:t> </a:t>
            </a:r>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
        <p:nvSpPr>
          <p:cNvPr id="13" name="Chart Placeholder 8">
            <a:extLst>
              <a:ext uri="{FF2B5EF4-FFF2-40B4-BE49-F238E27FC236}">
                <a16:creationId xmlns:a16="http://schemas.microsoft.com/office/drawing/2014/main" id="{C9E97866-941D-43F7-93CD-06577B8B7BE4}"/>
              </a:ext>
            </a:extLst>
          </p:cNvPr>
          <p:cNvSpPr>
            <a:spLocks noGrp="1"/>
          </p:cNvSpPr>
          <p:nvPr>
            <p:ph type="chart" sz="quarter" idx="13"/>
          </p:nvPr>
        </p:nvSpPr>
        <p:spPr>
          <a:xfrm>
            <a:off x="6324600" y="1800225"/>
            <a:ext cx="4956175" cy="3486905"/>
          </a:xfrm>
        </p:spPr>
        <p:txBody>
          <a:bodyPr/>
          <a:lstStyle/>
          <a:p>
            <a:endParaRPr lang="en-US"/>
          </a:p>
        </p:txBody>
      </p:sp>
      <p:pic>
        <p:nvPicPr>
          <p:cNvPr id="12" name="Picture 11">
            <a:extLst>
              <a:ext uri="{FF2B5EF4-FFF2-40B4-BE49-F238E27FC236}">
                <a16:creationId xmlns:a16="http://schemas.microsoft.com/office/drawing/2014/main" id="{4D4C5040-55AD-48A0-9290-14DD06A1CDB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048534" y="5707099"/>
            <a:ext cx="698422" cy="699880"/>
          </a:xfrm>
          <a:prstGeom prst="rect">
            <a:avLst/>
          </a:prstGeom>
        </p:spPr>
      </p:pic>
      <p:sp>
        <p:nvSpPr>
          <p:cNvPr id="11" name="Slide Number Placeholder 5">
            <a:extLst>
              <a:ext uri="{FF2B5EF4-FFF2-40B4-BE49-F238E27FC236}">
                <a16:creationId xmlns:a16="http://schemas.microsoft.com/office/drawing/2014/main" id="{5F309388-04D6-423C-A27C-4753CCF34255}"/>
              </a:ext>
            </a:extLst>
          </p:cNvPr>
          <p:cNvSpPr>
            <a:spLocks noGrp="1"/>
          </p:cNvSpPr>
          <p:nvPr>
            <p:ph type="sldNum" sz="quarter" idx="4"/>
          </p:nvPr>
        </p:nvSpPr>
        <p:spPr>
          <a:xfrm>
            <a:off x="361178" y="6246000"/>
            <a:ext cx="398364" cy="153888"/>
          </a:xfrm>
          <a:prstGeom prst="rect">
            <a:avLst/>
          </a:prstGeom>
        </p:spPr>
        <p:txBody>
          <a:bodyPr vert="horz" wrap="square" lIns="0" tIns="0" rIns="0" bIns="0" rtlCol="0" anchor="ctr">
            <a:spAutoFit/>
          </a:bodyPr>
          <a:lstStyle>
            <a:lvl1pPr algn="l">
              <a:defRPr sz="1000">
                <a:solidFill>
                  <a:schemeClr val="tx2"/>
                </a:solidFill>
              </a:defRPr>
            </a:lvl1pPr>
          </a:lstStyle>
          <a:p>
            <a:fld id="{01ED78C3-3A94-496B-9AE8-73034C580365}" type="slidenum">
              <a:rPr lang="en-US" smtClean="0"/>
              <a:pPr/>
              <a:t>‹#›</a:t>
            </a:fld>
            <a:endParaRPr lang="en-US"/>
          </a:p>
        </p:txBody>
      </p:sp>
    </p:spTree>
    <p:extLst>
      <p:ext uri="{BB962C8B-B14F-4D97-AF65-F5344CB8AC3E}">
        <p14:creationId xmlns:p14="http://schemas.microsoft.com/office/powerpoint/2010/main" val="30573073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 - grafiek II">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FCF338E-090D-4667-A5E3-78FF2BD0E39C}"/>
              </a:ext>
            </a:extLst>
          </p:cNvPr>
          <p:cNvGraphicFramePr>
            <a:graphicFrameLocks noChangeAspect="1"/>
          </p:cNvGraphicFramePr>
          <p:nvPr userDrawn="1">
            <p:custDataLst>
              <p:tags r:id="rId1"/>
            </p:custDataLst>
            <p:extLst>
              <p:ext uri="{D42A27DB-BD31-4B8C-83A1-F6EECF244321}">
                <p14:modId xmlns:p14="http://schemas.microsoft.com/office/powerpoint/2010/main" val="3901101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9" imgH="429" progId="TCLayout.ActiveDocument.1">
                  <p:embed/>
                </p:oleObj>
              </mc:Choice>
              <mc:Fallback>
                <p:oleObj name="think-cell Slide" r:id="rId3" imgW="429" imgH="429" progId="TCLayout.ActiveDocument.1">
                  <p:embed/>
                  <p:pic>
                    <p:nvPicPr>
                      <p:cNvPr id="6" name="Object 5" hidden="1">
                        <a:extLst>
                          <a:ext uri="{FF2B5EF4-FFF2-40B4-BE49-F238E27FC236}">
                            <a16:creationId xmlns:a16="http://schemas.microsoft.com/office/drawing/2014/main" id="{DFCF338E-090D-4667-A5E3-78FF2BD0E3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0810FE1D-E500-4492-9B9F-49C3EA98E14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769DEBB-A118-45FB-BA81-AE661A598514}"/>
              </a:ext>
            </a:extLst>
          </p:cNvPr>
          <p:cNvSpPr>
            <a:spLocks noGrp="1"/>
          </p:cNvSpPr>
          <p:nvPr>
            <p:ph type="title"/>
          </p:nvPr>
        </p:nvSpPr>
        <p:spPr/>
        <p:txBody>
          <a:bodyPr vert="horz"/>
          <a:lstStyle/>
          <a:p>
            <a:r>
              <a:rPr lang="nl-NL" noProof="0"/>
              <a:t>Click to edit Master title style</a:t>
            </a:r>
          </a:p>
        </p:txBody>
      </p:sp>
      <p:sp>
        <p:nvSpPr>
          <p:cNvPr id="7" name="Text Placeholder 2">
            <a:extLst>
              <a:ext uri="{FF2B5EF4-FFF2-40B4-BE49-F238E27FC236}">
                <a16:creationId xmlns:a16="http://schemas.microsoft.com/office/drawing/2014/main" id="{7B138BCD-6FB6-4A94-BDCA-41A5D7735307}"/>
              </a:ext>
            </a:extLst>
          </p:cNvPr>
          <p:cNvSpPr>
            <a:spLocks noGrp="1"/>
          </p:cNvSpPr>
          <p:nvPr>
            <p:ph type="body" idx="12"/>
          </p:nvPr>
        </p:nvSpPr>
        <p:spPr>
          <a:xfrm>
            <a:off x="911752" y="1861555"/>
            <a:ext cx="10369023" cy="307777"/>
          </a:xfrm>
        </p:spPr>
        <p:txBody>
          <a:bodyPr anchor="b" anchorCtr="0"/>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a:t>Click </a:t>
            </a:r>
            <a:r>
              <a:rPr lang="nl-NL" noProof="0" dirty="0" err="1"/>
              <a:t>to</a:t>
            </a:r>
            <a:r>
              <a:rPr lang="nl-NL" noProof="0" dirty="0"/>
              <a:t> </a:t>
            </a:r>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
        <p:nvSpPr>
          <p:cNvPr id="10" name="Chart Placeholder 8">
            <a:extLst>
              <a:ext uri="{FF2B5EF4-FFF2-40B4-BE49-F238E27FC236}">
                <a16:creationId xmlns:a16="http://schemas.microsoft.com/office/drawing/2014/main" id="{B8E66210-D73D-40A2-8B16-1791DA6D36A8}"/>
              </a:ext>
            </a:extLst>
          </p:cNvPr>
          <p:cNvSpPr>
            <a:spLocks noGrp="1"/>
          </p:cNvSpPr>
          <p:nvPr>
            <p:ph type="chart" sz="quarter" idx="13"/>
          </p:nvPr>
        </p:nvSpPr>
        <p:spPr>
          <a:xfrm>
            <a:off x="893974" y="2520000"/>
            <a:ext cx="10386802" cy="3108147"/>
          </a:xfrm>
        </p:spPr>
        <p:txBody>
          <a:bodyPr>
            <a:noAutofit/>
          </a:bodyPr>
          <a:lstStyle>
            <a:lvl1pPr>
              <a:defRPr sz="2000"/>
            </a:lvl1pPr>
          </a:lstStyle>
          <a:p>
            <a:endParaRPr lang="en-US" dirty="0"/>
          </a:p>
        </p:txBody>
      </p:sp>
      <p:pic>
        <p:nvPicPr>
          <p:cNvPr id="11" name="Picture 10">
            <a:extLst>
              <a:ext uri="{FF2B5EF4-FFF2-40B4-BE49-F238E27FC236}">
                <a16:creationId xmlns:a16="http://schemas.microsoft.com/office/drawing/2014/main" id="{FC19AB70-123A-4655-8C8C-3B3F305054A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048534" y="5707099"/>
            <a:ext cx="698422" cy="699880"/>
          </a:xfrm>
          <a:prstGeom prst="rect">
            <a:avLst/>
          </a:prstGeom>
        </p:spPr>
      </p:pic>
      <p:sp>
        <p:nvSpPr>
          <p:cNvPr id="12" name="Slide Number Placeholder 5">
            <a:extLst>
              <a:ext uri="{FF2B5EF4-FFF2-40B4-BE49-F238E27FC236}">
                <a16:creationId xmlns:a16="http://schemas.microsoft.com/office/drawing/2014/main" id="{8A1CE63C-24D0-4A96-A317-C7BCAD883DDF}"/>
              </a:ext>
            </a:extLst>
          </p:cNvPr>
          <p:cNvSpPr>
            <a:spLocks noGrp="1"/>
          </p:cNvSpPr>
          <p:nvPr>
            <p:ph type="sldNum" sz="quarter" idx="4"/>
          </p:nvPr>
        </p:nvSpPr>
        <p:spPr>
          <a:xfrm>
            <a:off x="361178" y="6246000"/>
            <a:ext cx="398364" cy="153888"/>
          </a:xfrm>
          <a:prstGeom prst="rect">
            <a:avLst/>
          </a:prstGeom>
        </p:spPr>
        <p:txBody>
          <a:bodyPr vert="horz" wrap="square" lIns="0" tIns="0" rIns="0" bIns="0" rtlCol="0" anchor="ctr">
            <a:spAutoFit/>
          </a:bodyPr>
          <a:lstStyle>
            <a:lvl1pPr algn="l">
              <a:defRPr sz="1000">
                <a:solidFill>
                  <a:schemeClr val="tx2"/>
                </a:solidFill>
              </a:defRPr>
            </a:lvl1pPr>
          </a:lstStyle>
          <a:p>
            <a:fld id="{01ED78C3-3A94-496B-9AE8-73034C580365}" type="slidenum">
              <a:rPr lang="en-US" smtClean="0"/>
              <a:pPr/>
              <a:t>‹#›</a:t>
            </a:fld>
            <a:endParaRPr lang="en-US"/>
          </a:p>
        </p:txBody>
      </p:sp>
    </p:spTree>
    <p:extLst>
      <p:ext uri="{BB962C8B-B14F-4D97-AF65-F5344CB8AC3E}">
        <p14:creationId xmlns:p14="http://schemas.microsoft.com/office/powerpoint/2010/main" val="22536185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ee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FF72390-6A65-45DE-8EF0-0EA2FC2A401E}"/>
              </a:ext>
            </a:extLst>
          </p:cNvPr>
          <p:cNvGraphicFramePr>
            <a:graphicFrameLocks noChangeAspect="1"/>
          </p:cNvGraphicFramePr>
          <p:nvPr userDrawn="1">
            <p:custDataLst>
              <p:tags r:id="rId1"/>
            </p:custDataLst>
            <p:extLst>
              <p:ext uri="{D42A27DB-BD31-4B8C-83A1-F6EECF244321}">
                <p14:modId xmlns:p14="http://schemas.microsoft.com/office/powerpoint/2010/main" val="1605929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9" imgH="429" progId="TCLayout.ActiveDocument.1">
                  <p:embed/>
                </p:oleObj>
              </mc:Choice>
              <mc:Fallback>
                <p:oleObj name="think-cell Slide" r:id="rId3" imgW="429" imgH="429" progId="TCLayout.ActiveDocument.1">
                  <p:embed/>
                  <p:pic>
                    <p:nvPicPr>
                      <p:cNvPr id="3" name="Object 2" hidden="1">
                        <a:extLst>
                          <a:ext uri="{FF2B5EF4-FFF2-40B4-BE49-F238E27FC236}">
                            <a16:creationId xmlns:a16="http://schemas.microsoft.com/office/drawing/2014/main" id="{3FF72390-6A65-45DE-8EF0-0EA2FC2A40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03B85B59-330C-4469-BA0C-1F4657FDDB9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A47D3A4E-FB0C-4A3D-B3AF-9085B7682E3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048534" y="5707099"/>
            <a:ext cx="698422" cy="699880"/>
          </a:xfrm>
          <a:prstGeom prst="rect">
            <a:avLst/>
          </a:prstGeom>
        </p:spPr>
      </p:pic>
      <p:sp>
        <p:nvSpPr>
          <p:cNvPr id="8" name="Title 7">
            <a:extLst>
              <a:ext uri="{FF2B5EF4-FFF2-40B4-BE49-F238E27FC236}">
                <a16:creationId xmlns:a16="http://schemas.microsoft.com/office/drawing/2014/main" id="{596F0371-7778-47ED-891D-DB591C79C753}"/>
              </a:ext>
            </a:extLst>
          </p:cNvPr>
          <p:cNvSpPr>
            <a:spLocks noGrp="1"/>
          </p:cNvSpPr>
          <p:nvPr>
            <p:ph type="title"/>
          </p:nvPr>
        </p:nvSpPr>
        <p:spPr/>
        <p:txBody>
          <a:bodyPr vert="horz"/>
          <a:lstStyle/>
          <a:p>
            <a:r>
              <a:rPr lang="en-US" dirty="0"/>
              <a:t>Click to edit Master title style</a:t>
            </a:r>
            <a:endParaRPr lang="en-GB" dirty="0"/>
          </a:p>
        </p:txBody>
      </p:sp>
      <p:sp>
        <p:nvSpPr>
          <p:cNvPr id="9" name="Slide Number Placeholder 5">
            <a:extLst>
              <a:ext uri="{FF2B5EF4-FFF2-40B4-BE49-F238E27FC236}">
                <a16:creationId xmlns:a16="http://schemas.microsoft.com/office/drawing/2014/main" id="{5D2FA645-D14A-4883-8C95-66B81520EDF1}"/>
              </a:ext>
            </a:extLst>
          </p:cNvPr>
          <p:cNvSpPr>
            <a:spLocks noGrp="1"/>
          </p:cNvSpPr>
          <p:nvPr>
            <p:ph type="sldNum" sz="quarter" idx="4"/>
          </p:nvPr>
        </p:nvSpPr>
        <p:spPr>
          <a:xfrm>
            <a:off x="361178" y="6246000"/>
            <a:ext cx="398364" cy="153888"/>
          </a:xfrm>
          <a:prstGeom prst="rect">
            <a:avLst/>
          </a:prstGeom>
        </p:spPr>
        <p:txBody>
          <a:bodyPr vert="horz" wrap="square" lIns="0" tIns="0" rIns="0" bIns="0" rtlCol="0" anchor="ctr">
            <a:spAutoFit/>
          </a:bodyPr>
          <a:lstStyle>
            <a:lvl1pPr algn="l">
              <a:defRPr sz="1000">
                <a:solidFill>
                  <a:schemeClr val="tx2"/>
                </a:solidFill>
              </a:defRPr>
            </a:lvl1pPr>
          </a:lstStyle>
          <a:p>
            <a:fld id="{01ED78C3-3A94-496B-9AE8-73034C580365}" type="slidenum">
              <a:rPr lang="en-US" smtClean="0"/>
              <a:pPr/>
              <a:t>‹#›</a:t>
            </a:fld>
            <a:endParaRPr lang="en-US"/>
          </a:p>
        </p:txBody>
      </p:sp>
    </p:spTree>
    <p:extLst>
      <p:ext uri="{BB962C8B-B14F-4D97-AF65-F5344CB8AC3E}">
        <p14:creationId xmlns:p14="http://schemas.microsoft.com/office/powerpoint/2010/main" val="28764505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II-a / var. bee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A6A69BE-8ACE-4B3F-BA14-70E31DB23CD0}"/>
              </a:ext>
            </a:extLst>
          </p:cNvPr>
          <p:cNvGraphicFramePr>
            <a:graphicFrameLocks noChangeAspect="1"/>
          </p:cNvGraphicFramePr>
          <p:nvPr userDrawn="1">
            <p:custDataLst>
              <p:tags r:id="rId1"/>
            </p:custDataLst>
            <p:extLst>
              <p:ext uri="{D42A27DB-BD31-4B8C-83A1-F6EECF244321}">
                <p14:modId xmlns:p14="http://schemas.microsoft.com/office/powerpoint/2010/main" val="2298548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9" imgH="429" progId="TCLayout.ActiveDocument.1">
                  <p:embed/>
                </p:oleObj>
              </mc:Choice>
              <mc:Fallback>
                <p:oleObj name="think-cell Slide" r:id="rId3" imgW="429" imgH="429" progId="TCLayout.ActiveDocument.1">
                  <p:embed/>
                  <p:pic>
                    <p:nvPicPr>
                      <p:cNvPr id="6" name="Object 5" hidden="1">
                        <a:extLst>
                          <a:ext uri="{FF2B5EF4-FFF2-40B4-BE49-F238E27FC236}">
                            <a16:creationId xmlns:a16="http://schemas.microsoft.com/office/drawing/2014/main" id="{CA6A69BE-8ACE-4B3F-BA14-70E31DB23C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2324698C-7EBF-4207-931A-DBEA47C1EF08}"/>
              </a:ext>
            </a:extLst>
          </p:cNvPr>
          <p:cNvSpPr>
            <a:spLocks noGrp="1"/>
          </p:cNvSpPr>
          <p:nvPr>
            <p:ph type="pic" sz="quarter" idx="16" hasCustomPrompt="1"/>
          </p:nvPr>
        </p:nvSpPr>
        <p:spPr>
          <a:xfrm>
            <a:off x="-2" y="391292"/>
            <a:ext cx="11046723" cy="6466708"/>
          </a:xfrm>
          <a:custGeom>
            <a:avLst/>
            <a:gdLst>
              <a:gd name="connsiteX0" fmla="*/ 12144881 w 12187957"/>
              <a:gd name="connsiteY0" fmla="*/ 2699113 h 6858000"/>
              <a:gd name="connsiteX1" fmla="*/ 12187957 w 12187957"/>
              <a:gd name="connsiteY1" fmla="*/ 2725743 h 6858000"/>
              <a:gd name="connsiteX2" fmla="*/ 12187957 w 12187957"/>
              <a:gd name="connsiteY2" fmla="*/ 2725897 h 6858000"/>
              <a:gd name="connsiteX3" fmla="*/ 11625258 w 12187957"/>
              <a:gd name="connsiteY3" fmla="*/ 2106063 h 6858000"/>
              <a:gd name="connsiteX4" fmla="*/ 11629346 w 12187957"/>
              <a:gd name="connsiteY4" fmla="*/ 2112520 h 6858000"/>
              <a:gd name="connsiteX5" fmla="*/ 11648080 w 12187957"/>
              <a:gd name="connsiteY5" fmla="*/ 2146495 h 6858000"/>
              <a:gd name="connsiteX6" fmla="*/ 11494204 w 12187957"/>
              <a:gd name="connsiteY6" fmla="*/ 1905523 h 6858000"/>
              <a:gd name="connsiteX7" fmla="*/ 11523841 w 12187957"/>
              <a:gd name="connsiteY7" fmla="*/ 1945872 h 6858000"/>
              <a:gd name="connsiteX8" fmla="*/ 11550310 w 12187957"/>
              <a:gd name="connsiteY8" fmla="*/ 1987681 h 6858000"/>
              <a:gd name="connsiteX9" fmla="*/ 11326061 w 12187957"/>
              <a:gd name="connsiteY9" fmla="*/ 1692532 h 6858000"/>
              <a:gd name="connsiteX10" fmla="*/ 11406282 w 12187957"/>
              <a:gd name="connsiteY10" fmla="*/ 1785822 h 6858000"/>
              <a:gd name="connsiteX11" fmla="*/ 11420409 w 12187957"/>
              <a:gd name="connsiteY11" fmla="*/ 1805055 h 6858000"/>
              <a:gd name="connsiteX12" fmla="*/ 10829453 w 12187957"/>
              <a:gd name="connsiteY12" fmla="*/ 1199865 h 6858000"/>
              <a:gd name="connsiteX13" fmla="*/ 10830227 w 12187957"/>
              <a:gd name="connsiteY13" fmla="*/ 1200518 h 6858000"/>
              <a:gd name="connsiteX14" fmla="*/ 10836860 w 12187957"/>
              <a:gd name="connsiteY14" fmla="*/ 1206669 h 6858000"/>
              <a:gd name="connsiteX15" fmla="*/ 10586019 w 12187957"/>
              <a:gd name="connsiteY15" fmla="*/ 995058 h 6858000"/>
              <a:gd name="connsiteX16" fmla="*/ 10594661 w 12187957"/>
              <a:gd name="connsiteY16" fmla="*/ 1001698 h 6858000"/>
              <a:gd name="connsiteX17" fmla="*/ 10635916 w 12187957"/>
              <a:gd name="connsiteY17" fmla="*/ 1036517 h 6858000"/>
              <a:gd name="connsiteX18" fmla="*/ 10333954 w 12187957"/>
              <a:gd name="connsiteY18" fmla="*/ 802539 h 6858000"/>
              <a:gd name="connsiteX19" fmla="*/ 10350933 w 12187957"/>
              <a:gd name="connsiteY19" fmla="*/ 814415 h 6858000"/>
              <a:gd name="connsiteX20" fmla="*/ 10404349 w 12187957"/>
              <a:gd name="connsiteY20" fmla="*/ 855460 h 6858000"/>
              <a:gd name="connsiteX21" fmla="*/ 10073757 w 12187957"/>
              <a:gd name="connsiteY21" fmla="*/ 622182 h 6858000"/>
              <a:gd name="connsiteX22" fmla="*/ 10099498 w 12187957"/>
              <a:gd name="connsiteY22" fmla="*/ 638556 h 6858000"/>
              <a:gd name="connsiteX23" fmla="*/ 10157163 w 12187957"/>
              <a:gd name="connsiteY23" fmla="*/ 678888 h 6858000"/>
              <a:gd name="connsiteX24" fmla="*/ 9805942 w 12187957"/>
              <a:gd name="connsiteY24" fmla="*/ 453866 h 6858000"/>
              <a:gd name="connsiteX25" fmla="*/ 9840808 w 12187957"/>
              <a:gd name="connsiteY25" fmla="*/ 474006 h 6858000"/>
              <a:gd name="connsiteX26" fmla="*/ 9898785 w 12187957"/>
              <a:gd name="connsiteY26" fmla="*/ 510885 h 6858000"/>
              <a:gd name="connsiteX27" fmla="*/ 5416523 w 12187957"/>
              <a:gd name="connsiteY27" fmla="*/ 392344 h 6858000"/>
              <a:gd name="connsiteX28" fmla="*/ 7023101 w 12187957"/>
              <a:gd name="connsiteY28" fmla="*/ 661672 h 6858000"/>
              <a:gd name="connsiteX29" fmla="*/ 9331960 w 12187957"/>
              <a:gd name="connsiteY29" fmla="*/ 2457451 h 6858000"/>
              <a:gd name="connsiteX30" fmla="*/ 10982484 w 12187957"/>
              <a:gd name="connsiteY30" fmla="*/ 4320382 h 6858000"/>
              <a:gd name="connsiteX31" fmla="*/ 11046723 w 12187957"/>
              <a:gd name="connsiteY31" fmla="*/ 4399855 h 6858000"/>
              <a:gd name="connsiteX32" fmla="*/ 10950686 w 12187957"/>
              <a:gd name="connsiteY32" fmla="*/ 4415959 h 6858000"/>
              <a:gd name="connsiteX33" fmla="*/ 9269729 w 12187957"/>
              <a:gd name="connsiteY33" fmla="*/ 5092699 h 6858000"/>
              <a:gd name="connsiteX34" fmla="*/ 8111807 w 12187957"/>
              <a:gd name="connsiteY34" fmla="*/ 6820535 h 6858000"/>
              <a:gd name="connsiteX35" fmla="*/ 8096827 w 12187957"/>
              <a:gd name="connsiteY35" fmla="*/ 6858000 h 6858000"/>
              <a:gd name="connsiteX36" fmla="*/ 0 w 12187957"/>
              <a:gd name="connsiteY36" fmla="*/ 6858000 h 6858000"/>
              <a:gd name="connsiteX37" fmla="*/ 0 w 12187957"/>
              <a:gd name="connsiteY37" fmla="*/ 1312476 h 6858000"/>
              <a:gd name="connsiteX38" fmla="*/ 393384 w 12187957"/>
              <a:gd name="connsiteY38" fmla="*/ 1170010 h 6858000"/>
              <a:gd name="connsiteX39" fmla="*/ 1790701 w 12187957"/>
              <a:gd name="connsiteY39" fmla="*/ 836932 h 6858000"/>
              <a:gd name="connsiteX40" fmla="*/ 5416523 w 12187957"/>
              <a:gd name="connsiteY40" fmla="*/ 392344 h 6858000"/>
              <a:gd name="connsiteX41" fmla="*/ 7788060 w 12187957"/>
              <a:gd name="connsiteY41" fmla="*/ 373174 h 6858000"/>
              <a:gd name="connsiteX42" fmla="*/ 7951989 w 12187957"/>
              <a:gd name="connsiteY42" fmla="*/ 496695 h 6858000"/>
              <a:gd name="connsiteX43" fmla="*/ 8131809 w 12187957"/>
              <a:gd name="connsiteY43" fmla="*/ 618490 h 6858000"/>
              <a:gd name="connsiteX44" fmla="*/ 10486389 w 12187957"/>
              <a:gd name="connsiteY44" fmla="*/ 1795780 h 6858000"/>
              <a:gd name="connsiteX45" fmla="*/ 10759439 w 12187957"/>
              <a:gd name="connsiteY45" fmla="*/ 1939290 h 6858000"/>
              <a:gd name="connsiteX46" fmla="*/ 11288712 w 12187957"/>
              <a:gd name="connsiteY46" fmla="*/ 2224564 h 6858000"/>
              <a:gd name="connsiteX47" fmla="*/ 11837227 w 12187957"/>
              <a:gd name="connsiteY47" fmla="*/ 2521293 h 6858000"/>
              <a:gd name="connsiteX48" fmla="*/ 11837228 w 12187957"/>
              <a:gd name="connsiteY48" fmla="*/ 2521295 h 6858000"/>
              <a:gd name="connsiteX49" fmla="*/ 11288712 w 12187957"/>
              <a:gd name="connsiteY49" fmla="*/ 2224565 h 6858000"/>
              <a:gd name="connsiteX50" fmla="*/ 10759440 w 12187957"/>
              <a:gd name="connsiteY50" fmla="*/ 1939291 h 6858000"/>
              <a:gd name="connsiteX51" fmla="*/ 10486390 w 12187957"/>
              <a:gd name="connsiteY51" fmla="*/ 1795782 h 6858000"/>
              <a:gd name="connsiteX52" fmla="*/ 8131810 w 12187957"/>
              <a:gd name="connsiteY52" fmla="*/ 619761 h 6858000"/>
              <a:gd name="connsiteX53" fmla="*/ 7927023 w 12187957"/>
              <a:gd name="connsiteY53" fmla="*/ 479920 h 6858000"/>
              <a:gd name="connsiteX54" fmla="*/ 7778945 w 12187957"/>
              <a:gd name="connsiteY54" fmla="*/ 366172 h 6858000"/>
              <a:gd name="connsiteX55" fmla="*/ 7788060 w 12187957"/>
              <a:gd name="connsiteY55" fmla="*/ 373174 h 6858000"/>
              <a:gd name="connsiteX56" fmla="*/ 7780464 w 12187957"/>
              <a:gd name="connsiteY56" fmla="*/ 367450 h 6858000"/>
              <a:gd name="connsiteX57" fmla="*/ 9531011 w 12187957"/>
              <a:gd name="connsiteY57" fmla="*/ 297464 h 6858000"/>
              <a:gd name="connsiteX58" fmla="*/ 9575319 w 12187957"/>
              <a:gd name="connsiteY58" fmla="*/ 320654 h 6858000"/>
              <a:gd name="connsiteX59" fmla="*/ 9631237 w 12187957"/>
              <a:gd name="connsiteY59" fmla="*/ 352953 h 6858000"/>
              <a:gd name="connsiteX60" fmla="*/ 7544713 w 12187957"/>
              <a:gd name="connsiteY60" fmla="*/ 169063 h 6858000"/>
              <a:gd name="connsiteX61" fmla="*/ 7778945 w 12187957"/>
              <a:gd name="connsiteY61" fmla="*/ 366172 h 6858000"/>
              <a:gd name="connsiteX62" fmla="*/ 7732713 w 12187957"/>
              <a:gd name="connsiteY62" fmla="*/ 330658 h 6858000"/>
              <a:gd name="connsiteX63" fmla="*/ 9249484 w 12187957"/>
              <a:gd name="connsiteY63" fmla="*/ 152855 h 6858000"/>
              <a:gd name="connsiteX64" fmla="*/ 9303483 w 12187957"/>
              <a:gd name="connsiteY64" fmla="*/ 178384 h 6858000"/>
              <a:gd name="connsiteX65" fmla="*/ 9355726 w 12187957"/>
              <a:gd name="connsiteY65" fmla="*/ 205726 h 6858000"/>
              <a:gd name="connsiteX66" fmla="*/ 7414333 w 12187957"/>
              <a:gd name="connsiteY66" fmla="*/ 56995 h 6858000"/>
              <a:gd name="connsiteX67" fmla="*/ 7544713 w 12187957"/>
              <a:gd name="connsiteY67" fmla="*/ 169063 h 6858000"/>
              <a:gd name="connsiteX68" fmla="*/ 7454642 w 12187957"/>
              <a:gd name="connsiteY68" fmla="*/ 93267 h 6858000"/>
              <a:gd name="connsiteX69" fmla="*/ 8961873 w 12187957"/>
              <a:gd name="connsiteY69" fmla="*/ 19913 h 6858000"/>
              <a:gd name="connsiteX70" fmla="*/ 9025753 w 12187957"/>
              <a:gd name="connsiteY70" fmla="*/ 47084 h 6858000"/>
              <a:gd name="connsiteX71" fmla="*/ 9073123 w 12187957"/>
              <a:gd name="connsiteY71" fmla="*/ 69479 h 6858000"/>
              <a:gd name="connsiteX72" fmla="*/ 7348739 w 12187957"/>
              <a:gd name="connsiteY72" fmla="*/ 0 h 6858000"/>
              <a:gd name="connsiteX73" fmla="*/ 7350996 w 12187957"/>
              <a:gd name="connsiteY73" fmla="*/ 0 h 6858000"/>
              <a:gd name="connsiteX74" fmla="*/ 7414333 w 12187957"/>
              <a:gd name="connsiteY74" fmla="*/ 56995 h 6858000"/>
              <a:gd name="connsiteX75" fmla="*/ 7364096 w 12187957"/>
              <a:gd name="connsiteY75" fmla="*/ 13813 h 6858000"/>
              <a:gd name="connsiteX76" fmla="*/ 1493836 w 12187957"/>
              <a:gd name="connsiteY76" fmla="*/ 0 h 6858000"/>
              <a:gd name="connsiteX77" fmla="*/ 1493841 w 12187957"/>
              <a:gd name="connsiteY77" fmla="*/ 0 h 6858000"/>
              <a:gd name="connsiteX78" fmla="*/ 1318737 w 12187957"/>
              <a:gd name="connsiteY78" fmla="*/ 70646 h 6858000"/>
              <a:gd name="connsiteX79" fmla="*/ 1036321 w 12187957"/>
              <a:gd name="connsiteY79" fmla="*/ 194312 h 6858000"/>
              <a:gd name="connsiteX80" fmla="*/ 130672 w 12187957"/>
              <a:gd name="connsiteY80" fmla="*/ 671514 h 6858000"/>
              <a:gd name="connsiteX81" fmla="*/ 0 w 12187957"/>
              <a:gd name="connsiteY81" fmla="*/ 747683 h 6858000"/>
              <a:gd name="connsiteX82" fmla="*/ 0 w 12187957"/>
              <a:gd name="connsiteY82" fmla="*/ 747682 h 6858000"/>
              <a:gd name="connsiteX83" fmla="*/ 130672 w 12187957"/>
              <a:gd name="connsiteY83" fmla="*/ 671513 h 6858000"/>
              <a:gd name="connsiteX84" fmla="*/ 1036321 w 12187957"/>
              <a:gd name="connsiteY84" fmla="*/ 194310 h 6858000"/>
              <a:gd name="connsiteX85" fmla="*/ 1318737 w 12187957"/>
              <a:gd name="connsiteY85" fmla="*/ 70644 h 6858000"/>
              <a:gd name="connsiteX0" fmla="*/ 12187957 w 12187957"/>
              <a:gd name="connsiteY0" fmla="*/ 2725897 h 6858000"/>
              <a:gd name="connsiteX1" fmla="*/ 12187957 w 12187957"/>
              <a:gd name="connsiteY1" fmla="*/ 2725743 h 6858000"/>
              <a:gd name="connsiteX2" fmla="*/ 12187957 w 12187957"/>
              <a:gd name="connsiteY2" fmla="*/ 2725897 h 6858000"/>
              <a:gd name="connsiteX3" fmla="*/ 11625258 w 12187957"/>
              <a:gd name="connsiteY3" fmla="*/ 2106063 h 6858000"/>
              <a:gd name="connsiteX4" fmla="*/ 11629346 w 12187957"/>
              <a:gd name="connsiteY4" fmla="*/ 2112520 h 6858000"/>
              <a:gd name="connsiteX5" fmla="*/ 11648080 w 12187957"/>
              <a:gd name="connsiteY5" fmla="*/ 2146495 h 6858000"/>
              <a:gd name="connsiteX6" fmla="*/ 11625258 w 12187957"/>
              <a:gd name="connsiteY6" fmla="*/ 2106063 h 6858000"/>
              <a:gd name="connsiteX7" fmla="*/ 11494204 w 12187957"/>
              <a:gd name="connsiteY7" fmla="*/ 1905523 h 6858000"/>
              <a:gd name="connsiteX8" fmla="*/ 11523841 w 12187957"/>
              <a:gd name="connsiteY8" fmla="*/ 1945872 h 6858000"/>
              <a:gd name="connsiteX9" fmla="*/ 11550310 w 12187957"/>
              <a:gd name="connsiteY9" fmla="*/ 1987681 h 6858000"/>
              <a:gd name="connsiteX10" fmla="*/ 11494204 w 12187957"/>
              <a:gd name="connsiteY10" fmla="*/ 1905523 h 6858000"/>
              <a:gd name="connsiteX11" fmla="*/ 11326061 w 12187957"/>
              <a:gd name="connsiteY11" fmla="*/ 1692532 h 6858000"/>
              <a:gd name="connsiteX12" fmla="*/ 11406282 w 12187957"/>
              <a:gd name="connsiteY12" fmla="*/ 1785822 h 6858000"/>
              <a:gd name="connsiteX13" fmla="*/ 11420409 w 12187957"/>
              <a:gd name="connsiteY13" fmla="*/ 1805055 h 6858000"/>
              <a:gd name="connsiteX14" fmla="*/ 11326061 w 12187957"/>
              <a:gd name="connsiteY14" fmla="*/ 1692532 h 6858000"/>
              <a:gd name="connsiteX15" fmla="*/ 10829453 w 12187957"/>
              <a:gd name="connsiteY15" fmla="*/ 1199865 h 6858000"/>
              <a:gd name="connsiteX16" fmla="*/ 10830227 w 12187957"/>
              <a:gd name="connsiteY16" fmla="*/ 1200518 h 6858000"/>
              <a:gd name="connsiteX17" fmla="*/ 10836860 w 12187957"/>
              <a:gd name="connsiteY17" fmla="*/ 1206669 h 6858000"/>
              <a:gd name="connsiteX18" fmla="*/ 10829453 w 12187957"/>
              <a:gd name="connsiteY18" fmla="*/ 1199865 h 6858000"/>
              <a:gd name="connsiteX19" fmla="*/ 10586019 w 12187957"/>
              <a:gd name="connsiteY19" fmla="*/ 995058 h 6858000"/>
              <a:gd name="connsiteX20" fmla="*/ 10594661 w 12187957"/>
              <a:gd name="connsiteY20" fmla="*/ 1001698 h 6858000"/>
              <a:gd name="connsiteX21" fmla="*/ 10635916 w 12187957"/>
              <a:gd name="connsiteY21" fmla="*/ 1036517 h 6858000"/>
              <a:gd name="connsiteX22" fmla="*/ 10586019 w 12187957"/>
              <a:gd name="connsiteY22" fmla="*/ 995058 h 6858000"/>
              <a:gd name="connsiteX23" fmla="*/ 10333954 w 12187957"/>
              <a:gd name="connsiteY23" fmla="*/ 802539 h 6858000"/>
              <a:gd name="connsiteX24" fmla="*/ 10350933 w 12187957"/>
              <a:gd name="connsiteY24" fmla="*/ 814415 h 6858000"/>
              <a:gd name="connsiteX25" fmla="*/ 10404349 w 12187957"/>
              <a:gd name="connsiteY25" fmla="*/ 855460 h 6858000"/>
              <a:gd name="connsiteX26" fmla="*/ 10333954 w 12187957"/>
              <a:gd name="connsiteY26" fmla="*/ 802539 h 6858000"/>
              <a:gd name="connsiteX27" fmla="*/ 10073757 w 12187957"/>
              <a:gd name="connsiteY27" fmla="*/ 622182 h 6858000"/>
              <a:gd name="connsiteX28" fmla="*/ 10099498 w 12187957"/>
              <a:gd name="connsiteY28" fmla="*/ 638556 h 6858000"/>
              <a:gd name="connsiteX29" fmla="*/ 10157163 w 12187957"/>
              <a:gd name="connsiteY29" fmla="*/ 678888 h 6858000"/>
              <a:gd name="connsiteX30" fmla="*/ 10073757 w 12187957"/>
              <a:gd name="connsiteY30" fmla="*/ 622182 h 6858000"/>
              <a:gd name="connsiteX31" fmla="*/ 9805942 w 12187957"/>
              <a:gd name="connsiteY31" fmla="*/ 453866 h 6858000"/>
              <a:gd name="connsiteX32" fmla="*/ 9840808 w 12187957"/>
              <a:gd name="connsiteY32" fmla="*/ 474006 h 6858000"/>
              <a:gd name="connsiteX33" fmla="*/ 9898785 w 12187957"/>
              <a:gd name="connsiteY33" fmla="*/ 510885 h 6858000"/>
              <a:gd name="connsiteX34" fmla="*/ 9805942 w 12187957"/>
              <a:gd name="connsiteY34" fmla="*/ 453866 h 6858000"/>
              <a:gd name="connsiteX35" fmla="*/ 5416523 w 12187957"/>
              <a:gd name="connsiteY35" fmla="*/ 392344 h 6858000"/>
              <a:gd name="connsiteX36" fmla="*/ 7023101 w 12187957"/>
              <a:gd name="connsiteY36" fmla="*/ 661672 h 6858000"/>
              <a:gd name="connsiteX37" fmla="*/ 9331960 w 12187957"/>
              <a:gd name="connsiteY37" fmla="*/ 2457451 h 6858000"/>
              <a:gd name="connsiteX38" fmla="*/ 10982484 w 12187957"/>
              <a:gd name="connsiteY38" fmla="*/ 4320382 h 6858000"/>
              <a:gd name="connsiteX39" fmla="*/ 11046723 w 12187957"/>
              <a:gd name="connsiteY39" fmla="*/ 4399855 h 6858000"/>
              <a:gd name="connsiteX40" fmla="*/ 10950686 w 12187957"/>
              <a:gd name="connsiteY40" fmla="*/ 4415959 h 6858000"/>
              <a:gd name="connsiteX41" fmla="*/ 9269729 w 12187957"/>
              <a:gd name="connsiteY41" fmla="*/ 5092699 h 6858000"/>
              <a:gd name="connsiteX42" fmla="*/ 8111807 w 12187957"/>
              <a:gd name="connsiteY42" fmla="*/ 6820535 h 6858000"/>
              <a:gd name="connsiteX43" fmla="*/ 8096827 w 12187957"/>
              <a:gd name="connsiteY43" fmla="*/ 6858000 h 6858000"/>
              <a:gd name="connsiteX44" fmla="*/ 0 w 12187957"/>
              <a:gd name="connsiteY44" fmla="*/ 6858000 h 6858000"/>
              <a:gd name="connsiteX45" fmla="*/ 0 w 12187957"/>
              <a:gd name="connsiteY45" fmla="*/ 1312476 h 6858000"/>
              <a:gd name="connsiteX46" fmla="*/ 393384 w 12187957"/>
              <a:gd name="connsiteY46" fmla="*/ 1170010 h 6858000"/>
              <a:gd name="connsiteX47" fmla="*/ 1790701 w 12187957"/>
              <a:gd name="connsiteY47" fmla="*/ 836932 h 6858000"/>
              <a:gd name="connsiteX48" fmla="*/ 5416523 w 12187957"/>
              <a:gd name="connsiteY48" fmla="*/ 392344 h 6858000"/>
              <a:gd name="connsiteX49" fmla="*/ 7788060 w 12187957"/>
              <a:gd name="connsiteY49" fmla="*/ 373174 h 6858000"/>
              <a:gd name="connsiteX50" fmla="*/ 7951989 w 12187957"/>
              <a:gd name="connsiteY50" fmla="*/ 496695 h 6858000"/>
              <a:gd name="connsiteX51" fmla="*/ 8131809 w 12187957"/>
              <a:gd name="connsiteY51" fmla="*/ 618490 h 6858000"/>
              <a:gd name="connsiteX52" fmla="*/ 10486389 w 12187957"/>
              <a:gd name="connsiteY52" fmla="*/ 1795780 h 6858000"/>
              <a:gd name="connsiteX53" fmla="*/ 10759439 w 12187957"/>
              <a:gd name="connsiteY53" fmla="*/ 1939290 h 6858000"/>
              <a:gd name="connsiteX54" fmla="*/ 11288712 w 12187957"/>
              <a:gd name="connsiteY54" fmla="*/ 2224564 h 6858000"/>
              <a:gd name="connsiteX55" fmla="*/ 11837227 w 12187957"/>
              <a:gd name="connsiteY55" fmla="*/ 2521293 h 6858000"/>
              <a:gd name="connsiteX56" fmla="*/ 11837228 w 12187957"/>
              <a:gd name="connsiteY56" fmla="*/ 2521295 h 6858000"/>
              <a:gd name="connsiteX57" fmla="*/ 11288712 w 12187957"/>
              <a:gd name="connsiteY57" fmla="*/ 2224565 h 6858000"/>
              <a:gd name="connsiteX58" fmla="*/ 10759440 w 12187957"/>
              <a:gd name="connsiteY58" fmla="*/ 1939291 h 6858000"/>
              <a:gd name="connsiteX59" fmla="*/ 10486390 w 12187957"/>
              <a:gd name="connsiteY59" fmla="*/ 1795782 h 6858000"/>
              <a:gd name="connsiteX60" fmla="*/ 8131810 w 12187957"/>
              <a:gd name="connsiteY60" fmla="*/ 619761 h 6858000"/>
              <a:gd name="connsiteX61" fmla="*/ 7927023 w 12187957"/>
              <a:gd name="connsiteY61" fmla="*/ 479920 h 6858000"/>
              <a:gd name="connsiteX62" fmla="*/ 7788060 w 12187957"/>
              <a:gd name="connsiteY62" fmla="*/ 373174 h 6858000"/>
              <a:gd name="connsiteX63" fmla="*/ 7778945 w 12187957"/>
              <a:gd name="connsiteY63" fmla="*/ 366172 h 6858000"/>
              <a:gd name="connsiteX64" fmla="*/ 7788060 w 12187957"/>
              <a:gd name="connsiteY64" fmla="*/ 373174 h 6858000"/>
              <a:gd name="connsiteX65" fmla="*/ 7780464 w 12187957"/>
              <a:gd name="connsiteY65" fmla="*/ 367450 h 6858000"/>
              <a:gd name="connsiteX66" fmla="*/ 7778945 w 12187957"/>
              <a:gd name="connsiteY66" fmla="*/ 366172 h 6858000"/>
              <a:gd name="connsiteX67" fmla="*/ 9531011 w 12187957"/>
              <a:gd name="connsiteY67" fmla="*/ 297464 h 6858000"/>
              <a:gd name="connsiteX68" fmla="*/ 9575319 w 12187957"/>
              <a:gd name="connsiteY68" fmla="*/ 320654 h 6858000"/>
              <a:gd name="connsiteX69" fmla="*/ 9631237 w 12187957"/>
              <a:gd name="connsiteY69" fmla="*/ 352953 h 6858000"/>
              <a:gd name="connsiteX70" fmla="*/ 9531011 w 12187957"/>
              <a:gd name="connsiteY70" fmla="*/ 297464 h 6858000"/>
              <a:gd name="connsiteX71" fmla="*/ 7544713 w 12187957"/>
              <a:gd name="connsiteY71" fmla="*/ 169063 h 6858000"/>
              <a:gd name="connsiteX72" fmla="*/ 7778945 w 12187957"/>
              <a:gd name="connsiteY72" fmla="*/ 366172 h 6858000"/>
              <a:gd name="connsiteX73" fmla="*/ 7732713 w 12187957"/>
              <a:gd name="connsiteY73" fmla="*/ 330658 h 6858000"/>
              <a:gd name="connsiteX74" fmla="*/ 7544713 w 12187957"/>
              <a:gd name="connsiteY74" fmla="*/ 169063 h 6858000"/>
              <a:gd name="connsiteX75" fmla="*/ 9249484 w 12187957"/>
              <a:gd name="connsiteY75" fmla="*/ 152855 h 6858000"/>
              <a:gd name="connsiteX76" fmla="*/ 9303483 w 12187957"/>
              <a:gd name="connsiteY76" fmla="*/ 178384 h 6858000"/>
              <a:gd name="connsiteX77" fmla="*/ 9355726 w 12187957"/>
              <a:gd name="connsiteY77" fmla="*/ 205726 h 6858000"/>
              <a:gd name="connsiteX78" fmla="*/ 9249484 w 12187957"/>
              <a:gd name="connsiteY78" fmla="*/ 152855 h 6858000"/>
              <a:gd name="connsiteX79" fmla="*/ 7414333 w 12187957"/>
              <a:gd name="connsiteY79" fmla="*/ 56995 h 6858000"/>
              <a:gd name="connsiteX80" fmla="*/ 7544713 w 12187957"/>
              <a:gd name="connsiteY80" fmla="*/ 169063 h 6858000"/>
              <a:gd name="connsiteX81" fmla="*/ 7454642 w 12187957"/>
              <a:gd name="connsiteY81" fmla="*/ 93267 h 6858000"/>
              <a:gd name="connsiteX82" fmla="*/ 7414333 w 12187957"/>
              <a:gd name="connsiteY82" fmla="*/ 56995 h 6858000"/>
              <a:gd name="connsiteX83" fmla="*/ 8961873 w 12187957"/>
              <a:gd name="connsiteY83" fmla="*/ 19913 h 6858000"/>
              <a:gd name="connsiteX84" fmla="*/ 9025753 w 12187957"/>
              <a:gd name="connsiteY84" fmla="*/ 47084 h 6858000"/>
              <a:gd name="connsiteX85" fmla="*/ 9073123 w 12187957"/>
              <a:gd name="connsiteY85" fmla="*/ 69479 h 6858000"/>
              <a:gd name="connsiteX86" fmla="*/ 8961873 w 12187957"/>
              <a:gd name="connsiteY86" fmla="*/ 19913 h 6858000"/>
              <a:gd name="connsiteX87" fmla="*/ 7348739 w 12187957"/>
              <a:gd name="connsiteY87" fmla="*/ 0 h 6858000"/>
              <a:gd name="connsiteX88" fmla="*/ 7350996 w 12187957"/>
              <a:gd name="connsiteY88" fmla="*/ 0 h 6858000"/>
              <a:gd name="connsiteX89" fmla="*/ 7414333 w 12187957"/>
              <a:gd name="connsiteY89" fmla="*/ 56995 h 6858000"/>
              <a:gd name="connsiteX90" fmla="*/ 7364096 w 12187957"/>
              <a:gd name="connsiteY90" fmla="*/ 13813 h 6858000"/>
              <a:gd name="connsiteX91" fmla="*/ 7348739 w 12187957"/>
              <a:gd name="connsiteY91" fmla="*/ 0 h 6858000"/>
              <a:gd name="connsiteX92" fmla="*/ 1493836 w 12187957"/>
              <a:gd name="connsiteY92" fmla="*/ 0 h 6858000"/>
              <a:gd name="connsiteX93" fmla="*/ 1493841 w 12187957"/>
              <a:gd name="connsiteY93" fmla="*/ 0 h 6858000"/>
              <a:gd name="connsiteX94" fmla="*/ 1318737 w 12187957"/>
              <a:gd name="connsiteY94" fmla="*/ 70646 h 6858000"/>
              <a:gd name="connsiteX95" fmla="*/ 1036321 w 12187957"/>
              <a:gd name="connsiteY95" fmla="*/ 194312 h 6858000"/>
              <a:gd name="connsiteX96" fmla="*/ 130672 w 12187957"/>
              <a:gd name="connsiteY96" fmla="*/ 671514 h 6858000"/>
              <a:gd name="connsiteX97" fmla="*/ 0 w 12187957"/>
              <a:gd name="connsiteY97" fmla="*/ 747683 h 6858000"/>
              <a:gd name="connsiteX98" fmla="*/ 0 w 12187957"/>
              <a:gd name="connsiteY98" fmla="*/ 747682 h 6858000"/>
              <a:gd name="connsiteX99" fmla="*/ 130672 w 12187957"/>
              <a:gd name="connsiteY99" fmla="*/ 671513 h 6858000"/>
              <a:gd name="connsiteX100" fmla="*/ 1036321 w 12187957"/>
              <a:gd name="connsiteY100" fmla="*/ 194310 h 6858000"/>
              <a:gd name="connsiteX101" fmla="*/ 1318737 w 12187957"/>
              <a:gd name="connsiteY101" fmla="*/ 70644 h 6858000"/>
              <a:gd name="connsiteX102" fmla="*/ 1493836 w 12187957"/>
              <a:gd name="connsiteY102" fmla="*/ 0 h 6858000"/>
              <a:gd name="connsiteX0" fmla="*/ 11625258 w 11837228"/>
              <a:gd name="connsiteY0" fmla="*/ 2106063 h 6858000"/>
              <a:gd name="connsiteX1" fmla="*/ 11629346 w 11837228"/>
              <a:gd name="connsiteY1" fmla="*/ 2112520 h 6858000"/>
              <a:gd name="connsiteX2" fmla="*/ 11648080 w 11837228"/>
              <a:gd name="connsiteY2" fmla="*/ 2146495 h 6858000"/>
              <a:gd name="connsiteX3" fmla="*/ 11625258 w 11837228"/>
              <a:gd name="connsiteY3" fmla="*/ 2106063 h 6858000"/>
              <a:gd name="connsiteX4" fmla="*/ 11494204 w 11837228"/>
              <a:gd name="connsiteY4" fmla="*/ 1905523 h 6858000"/>
              <a:gd name="connsiteX5" fmla="*/ 11523841 w 11837228"/>
              <a:gd name="connsiteY5" fmla="*/ 1945872 h 6858000"/>
              <a:gd name="connsiteX6" fmla="*/ 11550310 w 11837228"/>
              <a:gd name="connsiteY6" fmla="*/ 1987681 h 6858000"/>
              <a:gd name="connsiteX7" fmla="*/ 11494204 w 11837228"/>
              <a:gd name="connsiteY7" fmla="*/ 1905523 h 6858000"/>
              <a:gd name="connsiteX8" fmla="*/ 11326061 w 11837228"/>
              <a:gd name="connsiteY8" fmla="*/ 1692532 h 6858000"/>
              <a:gd name="connsiteX9" fmla="*/ 11406282 w 11837228"/>
              <a:gd name="connsiteY9" fmla="*/ 1785822 h 6858000"/>
              <a:gd name="connsiteX10" fmla="*/ 11420409 w 11837228"/>
              <a:gd name="connsiteY10" fmla="*/ 1805055 h 6858000"/>
              <a:gd name="connsiteX11" fmla="*/ 11326061 w 11837228"/>
              <a:gd name="connsiteY11" fmla="*/ 1692532 h 6858000"/>
              <a:gd name="connsiteX12" fmla="*/ 10829453 w 11837228"/>
              <a:gd name="connsiteY12" fmla="*/ 1199865 h 6858000"/>
              <a:gd name="connsiteX13" fmla="*/ 10830227 w 11837228"/>
              <a:gd name="connsiteY13" fmla="*/ 1200518 h 6858000"/>
              <a:gd name="connsiteX14" fmla="*/ 10836860 w 11837228"/>
              <a:gd name="connsiteY14" fmla="*/ 1206669 h 6858000"/>
              <a:gd name="connsiteX15" fmla="*/ 10829453 w 11837228"/>
              <a:gd name="connsiteY15" fmla="*/ 1199865 h 6858000"/>
              <a:gd name="connsiteX16" fmla="*/ 10586019 w 11837228"/>
              <a:gd name="connsiteY16" fmla="*/ 995058 h 6858000"/>
              <a:gd name="connsiteX17" fmla="*/ 10594661 w 11837228"/>
              <a:gd name="connsiteY17" fmla="*/ 1001698 h 6858000"/>
              <a:gd name="connsiteX18" fmla="*/ 10635916 w 11837228"/>
              <a:gd name="connsiteY18" fmla="*/ 1036517 h 6858000"/>
              <a:gd name="connsiteX19" fmla="*/ 10586019 w 11837228"/>
              <a:gd name="connsiteY19" fmla="*/ 995058 h 6858000"/>
              <a:gd name="connsiteX20" fmla="*/ 10333954 w 11837228"/>
              <a:gd name="connsiteY20" fmla="*/ 802539 h 6858000"/>
              <a:gd name="connsiteX21" fmla="*/ 10350933 w 11837228"/>
              <a:gd name="connsiteY21" fmla="*/ 814415 h 6858000"/>
              <a:gd name="connsiteX22" fmla="*/ 10404349 w 11837228"/>
              <a:gd name="connsiteY22" fmla="*/ 855460 h 6858000"/>
              <a:gd name="connsiteX23" fmla="*/ 10333954 w 11837228"/>
              <a:gd name="connsiteY23" fmla="*/ 802539 h 6858000"/>
              <a:gd name="connsiteX24" fmla="*/ 10073757 w 11837228"/>
              <a:gd name="connsiteY24" fmla="*/ 622182 h 6858000"/>
              <a:gd name="connsiteX25" fmla="*/ 10099498 w 11837228"/>
              <a:gd name="connsiteY25" fmla="*/ 638556 h 6858000"/>
              <a:gd name="connsiteX26" fmla="*/ 10157163 w 11837228"/>
              <a:gd name="connsiteY26" fmla="*/ 678888 h 6858000"/>
              <a:gd name="connsiteX27" fmla="*/ 10073757 w 11837228"/>
              <a:gd name="connsiteY27" fmla="*/ 622182 h 6858000"/>
              <a:gd name="connsiteX28" fmla="*/ 9805942 w 11837228"/>
              <a:gd name="connsiteY28" fmla="*/ 453866 h 6858000"/>
              <a:gd name="connsiteX29" fmla="*/ 9840808 w 11837228"/>
              <a:gd name="connsiteY29" fmla="*/ 474006 h 6858000"/>
              <a:gd name="connsiteX30" fmla="*/ 9898785 w 11837228"/>
              <a:gd name="connsiteY30" fmla="*/ 510885 h 6858000"/>
              <a:gd name="connsiteX31" fmla="*/ 9805942 w 11837228"/>
              <a:gd name="connsiteY31" fmla="*/ 453866 h 6858000"/>
              <a:gd name="connsiteX32" fmla="*/ 5416523 w 11837228"/>
              <a:gd name="connsiteY32" fmla="*/ 392344 h 6858000"/>
              <a:gd name="connsiteX33" fmla="*/ 7023101 w 11837228"/>
              <a:gd name="connsiteY33" fmla="*/ 661672 h 6858000"/>
              <a:gd name="connsiteX34" fmla="*/ 9331960 w 11837228"/>
              <a:gd name="connsiteY34" fmla="*/ 2457451 h 6858000"/>
              <a:gd name="connsiteX35" fmla="*/ 10982484 w 11837228"/>
              <a:gd name="connsiteY35" fmla="*/ 4320382 h 6858000"/>
              <a:gd name="connsiteX36" fmla="*/ 11046723 w 11837228"/>
              <a:gd name="connsiteY36" fmla="*/ 4399855 h 6858000"/>
              <a:gd name="connsiteX37" fmla="*/ 10950686 w 11837228"/>
              <a:gd name="connsiteY37" fmla="*/ 4415959 h 6858000"/>
              <a:gd name="connsiteX38" fmla="*/ 9269729 w 11837228"/>
              <a:gd name="connsiteY38" fmla="*/ 5092699 h 6858000"/>
              <a:gd name="connsiteX39" fmla="*/ 8111807 w 11837228"/>
              <a:gd name="connsiteY39" fmla="*/ 6820535 h 6858000"/>
              <a:gd name="connsiteX40" fmla="*/ 8096827 w 11837228"/>
              <a:gd name="connsiteY40" fmla="*/ 6858000 h 6858000"/>
              <a:gd name="connsiteX41" fmla="*/ 0 w 11837228"/>
              <a:gd name="connsiteY41" fmla="*/ 6858000 h 6858000"/>
              <a:gd name="connsiteX42" fmla="*/ 0 w 11837228"/>
              <a:gd name="connsiteY42" fmla="*/ 1312476 h 6858000"/>
              <a:gd name="connsiteX43" fmla="*/ 393384 w 11837228"/>
              <a:gd name="connsiteY43" fmla="*/ 1170010 h 6858000"/>
              <a:gd name="connsiteX44" fmla="*/ 1790701 w 11837228"/>
              <a:gd name="connsiteY44" fmla="*/ 836932 h 6858000"/>
              <a:gd name="connsiteX45" fmla="*/ 5416523 w 11837228"/>
              <a:gd name="connsiteY45" fmla="*/ 392344 h 6858000"/>
              <a:gd name="connsiteX46" fmla="*/ 7788060 w 11837228"/>
              <a:gd name="connsiteY46" fmla="*/ 373174 h 6858000"/>
              <a:gd name="connsiteX47" fmla="*/ 7951989 w 11837228"/>
              <a:gd name="connsiteY47" fmla="*/ 496695 h 6858000"/>
              <a:gd name="connsiteX48" fmla="*/ 8131809 w 11837228"/>
              <a:gd name="connsiteY48" fmla="*/ 618490 h 6858000"/>
              <a:gd name="connsiteX49" fmla="*/ 10486389 w 11837228"/>
              <a:gd name="connsiteY49" fmla="*/ 1795780 h 6858000"/>
              <a:gd name="connsiteX50" fmla="*/ 10759439 w 11837228"/>
              <a:gd name="connsiteY50" fmla="*/ 1939290 h 6858000"/>
              <a:gd name="connsiteX51" fmla="*/ 11288712 w 11837228"/>
              <a:gd name="connsiteY51" fmla="*/ 2224564 h 6858000"/>
              <a:gd name="connsiteX52" fmla="*/ 11837227 w 11837228"/>
              <a:gd name="connsiteY52" fmla="*/ 2521293 h 6858000"/>
              <a:gd name="connsiteX53" fmla="*/ 11837228 w 11837228"/>
              <a:gd name="connsiteY53" fmla="*/ 2521295 h 6858000"/>
              <a:gd name="connsiteX54" fmla="*/ 11288712 w 11837228"/>
              <a:gd name="connsiteY54" fmla="*/ 2224565 h 6858000"/>
              <a:gd name="connsiteX55" fmla="*/ 10759440 w 11837228"/>
              <a:gd name="connsiteY55" fmla="*/ 1939291 h 6858000"/>
              <a:gd name="connsiteX56" fmla="*/ 10486390 w 11837228"/>
              <a:gd name="connsiteY56" fmla="*/ 1795782 h 6858000"/>
              <a:gd name="connsiteX57" fmla="*/ 8131810 w 11837228"/>
              <a:gd name="connsiteY57" fmla="*/ 619761 h 6858000"/>
              <a:gd name="connsiteX58" fmla="*/ 7927023 w 11837228"/>
              <a:gd name="connsiteY58" fmla="*/ 479920 h 6858000"/>
              <a:gd name="connsiteX59" fmla="*/ 7788060 w 11837228"/>
              <a:gd name="connsiteY59" fmla="*/ 373174 h 6858000"/>
              <a:gd name="connsiteX60" fmla="*/ 7778945 w 11837228"/>
              <a:gd name="connsiteY60" fmla="*/ 366172 h 6858000"/>
              <a:gd name="connsiteX61" fmla="*/ 7788060 w 11837228"/>
              <a:gd name="connsiteY61" fmla="*/ 373174 h 6858000"/>
              <a:gd name="connsiteX62" fmla="*/ 7780464 w 11837228"/>
              <a:gd name="connsiteY62" fmla="*/ 367450 h 6858000"/>
              <a:gd name="connsiteX63" fmla="*/ 7778945 w 11837228"/>
              <a:gd name="connsiteY63" fmla="*/ 366172 h 6858000"/>
              <a:gd name="connsiteX64" fmla="*/ 9531011 w 11837228"/>
              <a:gd name="connsiteY64" fmla="*/ 297464 h 6858000"/>
              <a:gd name="connsiteX65" fmla="*/ 9575319 w 11837228"/>
              <a:gd name="connsiteY65" fmla="*/ 320654 h 6858000"/>
              <a:gd name="connsiteX66" fmla="*/ 9631237 w 11837228"/>
              <a:gd name="connsiteY66" fmla="*/ 352953 h 6858000"/>
              <a:gd name="connsiteX67" fmla="*/ 9531011 w 11837228"/>
              <a:gd name="connsiteY67" fmla="*/ 297464 h 6858000"/>
              <a:gd name="connsiteX68" fmla="*/ 7544713 w 11837228"/>
              <a:gd name="connsiteY68" fmla="*/ 169063 h 6858000"/>
              <a:gd name="connsiteX69" fmla="*/ 7778945 w 11837228"/>
              <a:gd name="connsiteY69" fmla="*/ 366172 h 6858000"/>
              <a:gd name="connsiteX70" fmla="*/ 7732713 w 11837228"/>
              <a:gd name="connsiteY70" fmla="*/ 330658 h 6858000"/>
              <a:gd name="connsiteX71" fmla="*/ 7544713 w 11837228"/>
              <a:gd name="connsiteY71" fmla="*/ 169063 h 6858000"/>
              <a:gd name="connsiteX72" fmla="*/ 9249484 w 11837228"/>
              <a:gd name="connsiteY72" fmla="*/ 152855 h 6858000"/>
              <a:gd name="connsiteX73" fmla="*/ 9303483 w 11837228"/>
              <a:gd name="connsiteY73" fmla="*/ 178384 h 6858000"/>
              <a:gd name="connsiteX74" fmla="*/ 9355726 w 11837228"/>
              <a:gd name="connsiteY74" fmla="*/ 205726 h 6858000"/>
              <a:gd name="connsiteX75" fmla="*/ 9249484 w 11837228"/>
              <a:gd name="connsiteY75" fmla="*/ 152855 h 6858000"/>
              <a:gd name="connsiteX76" fmla="*/ 7414333 w 11837228"/>
              <a:gd name="connsiteY76" fmla="*/ 56995 h 6858000"/>
              <a:gd name="connsiteX77" fmla="*/ 7544713 w 11837228"/>
              <a:gd name="connsiteY77" fmla="*/ 169063 h 6858000"/>
              <a:gd name="connsiteX78" fmla="*/ 7454642 w 11837228"/>
              <a:gd name="connsiteY78" fmla="*/ 93267 h 6858000"/>
              <a:gd name="connsiteX79" fmla="*/ 7414333 w 11837228"/>
              <a:gd name="connsiteY79" fmla="*/ 56995 h 6858000"/>
              <a:gd name="connsiteX80" fmla="*/ 8961873 w 11837228"/>
              <a:gd name="connsiteY80" fmla="*/ 19913 h 6858000"/>
              <a:gd name="connsiteX81" fmla="*/ 9025753 w 11837228"/>
              <a:gd name="connsiteY81" fmla="*/ 47084 h 6858000"/>
              <a:gd name="connsiteX82" fmla="*/ 9073123 w 11837228"/>
              <a:gd name="connsiteY82" fmla="*/ 69479 h 6858000"/>
              <a:gd name="connsiteX83" fmla="*/ 8961873 w 11837228"/>
              <a:gd name="connsiteY83" fmla="*/ 19913 h 6858000"/>
              <a:gd name="connsiteX84" fmla="*/ 7348739 w 11837228"/>
              <a:gd name="connsiteY84" fmla="*/ 0 h 6858000"/>
              <a:gd name="connsiteX85" fmla="*/ 7350996 w 11837228"/>
              <a:gd name="connsiteY85" fmla="*/ 0 h 6858000"/>
              <a:gd name="connsiteX86" fmla="*/ 7414333 w 11837228"/>
              <a:gd name="connsiteY86" fmla="*/ 56995 h 6858000"/>
              <a:gd name="connsiteX87" fmla="*/ 7364096 w 11837228"/>
              <a:gd name="connsiteY87" fmla="*/ 13813 h 6858000"/>
              <a:gd name="connsiteX88" fmla="*/ 7348739 w 11837228"/>
              <a:gd name="connsiteY88" fmla="*/ 0 h 6858000"/>
              <a:gd name="connsiteX89" fmla="*/ 1493836 w 11837228"/>
              <a:gd name="connsiteY89" fmla="*/ 0 h 6858000"/>
              <a:gd name="connsiteX90" fmla="*/ 1493841 w 11837228"/>
              <a:gd name="connsiteY90" fmla="*/ 0 h 6858000"/>
              <a:gd name="connsiteX91" fmla="*/ 1318737 w 11837228"/>
              <a:gd name="connsiteY91" fmla="*/ 70646 h 6858000"/>
              <a:gd name="connsiteX92" fmla="*/ 1036321 w 11837228"/>
              <a:gd name="connsiteY92" fmla="*/ 194312 h 6858000"/>
              <a:gd name="connsiteX93" fmla="*/ 130672 w 11837228"/>
              <a:gd name="connsiteY93" fmla="*/ 671514 h 6858000"/>
              <a:gd name="connsiteX94" fmla="*/ 0 w 11837228"/>
              <a:gd name="connsiteY94" fmla="*/ 747683 h 6858000"/>
              <a:gd name="connsiteX95" fmla="*/ 0 w 11837228"/>
              <a:gd name="connsiteY95" fmla="*/ 747682 h 6858000"/>
              <a:gd name="connsiteX96" fmla="*/ 130672 w 11837228"/>
              <a:gd name="connsiteY96" fmla="*/ 671513 h 6858000"/>
              <a:gd name="connsiteX97" fmla="*/ 1036321 w 11837228"/>
              <a:gd name="connsiteY97" fmla="*/ 194310 h 6858000"/>
              <a:gd name="connsiteX98" fmla="*/ 1318737 w 11837228"/>
              <a:gd name="connsiteY98" fmla="*/ 70644 h 6858000"/>
              <a:gd name="connsiteX99" fmla="*/ 1493836 w 11837228"/>
              <a:gd name="connsiteY99" fmla="*/ 0 h 6858000"/>
              <a:gd name="connsiteX0" fmla="*/ 11625258 w 11837227"/>
              <a:gd name="connsiteY0" fmla="*/ 2106063 h 6858000"/>
              <a:gd name="connsiteX1" fmla="*/ 11629346 w 11837227"/>
              <a:gd name="connsiteY1" fmla="*/ 2112520 h 6858000"/>
              <a:gd name="connsiteX2" fmla="*/ 11648080 w 11837227"/>
              <a:gd name="connsiteY2" fmla="*/ 2146495 h 6858000"/>
              <a:gd name="connsiteX3" fmla="*/ 11625258 w 11837227"/>
              <a:gd name="connsiteY3" fmla="*/ 2106063 h 6858000"/>
              <a:gd name="connsiteX4" fmla="*/ 11494204 w 11837227"/>
              <a:gd name="connsiteY4" fmla="*/ 1905523 h 6858000"/>
              <a:gd name="connsiteX5" fmla="*/ 11523841 w 11837227"/>
              <a:gd name="connsiteY5" fmla="*/ 1945872 h 6858000"/>
              <a:gd name="connsiteX6" fmla="*/ 11550310 w 11837227"/>
              <a:gd name="connsiteY6" fmla="*/ 1987681 h 6858000"/>
              <a:gd name="connsiteX7" fmla="*/ 11494204 w 11837227"/>
              <a:gd name="connsiteY7" fmla="*/ 1905523 h 6858000"/>
              <a:gd name="connsiteX8" fmla="*/ 11326061 w 11837227"/>
              <a:gd name="connsiteY8" fmla="*/ 1692532 h 6858000"/>
              <a:gd name="connsiteX9" fmla="*/ 11406282 w 11837227"/>
              <a:gd name="connsiteY9" fmla="*/ 1785822 h 6858000"/>
              <a:gd name="connsiteX10" fmla="*/ 11420409 w 11837227"/>
              <a:gd name="connsiteY10" fmla="*/ 1805055 h 6858000"/>
              <a:gd name="connsiteX11" fmla="*/ 11326061 w 11837227"/>
              <a:gd name="connsiteY11" fmla="*/ 1692532 h 6858000"/>
              <a:gd name="connsiteX12" fmla="*/ 10829453 w 11837227"/>
              <a:gd name="connsiteY12" fmla="*/ 1199865 h 6858000"/>
              <a:gd name="connsiteX13" fmla="*/ 10830227 w 11837227"/>
              <a:gd name="connsiteY13" fmla="*/ 1200518 h 6858000"/>
              <a:gd name="connsiteX14" fmla="*/ 10836860 w 11837227"/>
              <a:gd name="connsiteY14" fmla="*/ 1206669 h 6858000"/>
              <a:gd name="connsiteX15" fmla="*/ 10829453 w 11837227"/>
              <a:gd name="connsiteY15" fmla="*/ 1199865 h 6858000"/>
              <a:gd name="connsiteX16" fmla="*/ 10586019 w 11837227"/>
              <a:gd name="connsiteY16" fmla="*/ 995058 h 6858000"/>
              <a:gd name="connsiteX17" fmla="*/ 10594661 w 11837227"/>
              <a:gd name="connsiteY17" fmla="*/ 1001698 h 6858000"/>
              <a:gd name="connsiteX18" fmla="*/ 10635916 w 11837227"/>
              <a:gd name="connsiteY18" fmla="*/ 1036517 h 6858000"/>
              <a:gd name="connsiteX19" fmla="*/ 10586019 w 11837227"/>
              <a:gd name="connsiteY19" fmla="*/ 995058 h 6858000"/>
              <a:gd name="connsiteX20" fmla="*/ 10333954 w 11837227"/>
              <a:gd name="connsiteY20" fmla="*/ 802539 h 6858000"/>
              <a:gd name="connsiteX21" fmla="*/ 10350933 w 11837227"/>
              <a:gd name="connsiteY21" fmla="*/ 814415 h 6858000"/>
              <a:gd name="connsiteX22" fmla="*/ 10404349 w 11837227"/>
              <a:gd name="connsiteY22" fmla="*/ 855460 h 6858000"/>
              <a:gd name="connsiteX23" fmla="*/ 10333954 w 11837227"/>
              <a:gd name="connsiteY23" fmla="*/ 802539 h 6858000"/>
              <a:gd name="connsiteX24" fmla="*/ 10073757 w 11837227"/>
              <a:gd name="connsiteY24" fmla="*/ 622182 h 6858000"/>
              <a:gd name="connsiteX25" fmla="*/ 10099498 w 11837227"/>
              <a:gd name="connsiteY25" fmla="*/ 638556 h 6858000"/>
              <a:gd name="connsiteX26" fmla="*/ 10157163 w 11837227"/>
              <a:gd name="connsiteY26" fmla="*/ 678888 h 6858000"/>
              <a:gd name="connsiteX27" fmla="*/ 10073757 w 11837227"/>
              <a:gd name="connsiteY27" fmla="*/ 622182 h 6858000"/>
              <a:gd name="connsiteX28" fmla="*/ 9805942 w 11837227"/>
              <a:gd name="connsiteY28" fmla="*/ 453866 h 6858000"/>
              <a:gd name="connsiteX29" fmla="*/ 9840808 w 11837227"/>
              <a:gd name="connsiteY29" fmla="*/ 474006 h 6858000"/>
              <a:gd name="connsiteX30" fmla="*/ 9898785 w 11837227"/>
              <a:gd name="connsiteY30" fmla="*/ 510885 h 6858000"/>
              <a:gd name="connsiteX31" fmla="*/ 9805942 w 11837227"/>
              <a:gd name="connsiteY31" fmla="*/ 453866 h 6858000"/>
              <a:gd name="connsiteX32" fmla="*/ 5416523 w 11837227"/>
              <a:gd name="connsiteY32" fmla="*/ 392344 h 6858000"/>
              <a:gd name="connsiteX33" fmla="*/ 7023101 w 11837227"/>
              <a:gd name="connsiteY33" fmla="*/ 661672 h 6858000"/>
              <a:gd name="connsiteX34" fmla="*/ 9331960 w 11837227"/>
              <a:gd name="connsiteY34" fmla="*/ 2457451 h 6858000"/>
              <a:gd name="connsiteX35" fmla="*/ 10982484 w 11837227"/>
              <a:gd name="connsiteY35" fmla="*/ 4320382 h 6858000"/>
              <a:gd name="connsiteX36" fmla="*/ 11046723 w 11837227"/>
              <a:gd name="connsiteY36" fmla="*/ 4399855 h 6858000"/>
              <a:gd name="connsiteX37" fmla="*/ 10950686 w 11837227"/>
              <a:gd name="connsiteY37" fmla="*/ 4415959 h 6858000"/>
              <a:gd name="connsiteX38" fmla="*/ 9269729 w 11837227"/>
              <a:gd name="connsiteY38" fmla="*/ 5092699 h 6858000"/>
              <a:gd name="connsiteX39" fmla="*/ 8111807 w 11837227"/>
              <a:gd name="connsiteY39" fmla="*/ 6820535 h 6858000"/>
              <a:gd name="connsiteX40" fmla="*/ 8096827 w 11837227"/>
              <a:gd name="connsiteY40" fmla="*/ 6858000 h 6858000"/>
              <a:gd name="connsiteX41" fmla="*/ 0 w 11837227"/>
              <a:gd name="connsiteY41" fmla="*/ 6858000 h 6858000"/>
              <a:gd name="connsiteX42" fmla="*/ 0 w 11837227"/>
              <a:gd name="connsiteY42" fmla="*/ 1312476 h 6858000"/>
              <a:gd name="connsiteX43" fmla="*/ 393384 w 11837227"/>
              <a:gd name="connsiteY43" fmla="*/ 1170010 h 6858000"/>
              <a:gd name="connsiteX44" fmla="*/ 1790701 w 11837227"/>
              <a:gd name="connsiteY44" fmla="*/ 836932 h 6858000"/>
              <a:gd name="connsiteX45" fmla="*/ 5416523 w 11837227"/>
              <a:gd name="connsiteY45" fmla="*/ 392344 h 6858000"/>
              <a:gd name="connsiteX46" fmla="*/ 7788060 w 11837227"/>
              <a:gd name="connsiteY46" fmla="*/ 373174 h 6858000"/>
              <a:gd name="connsiteX47" fmla="*/ 7951989 w 11837227"/>
              <a:gd name="connsiteY47" fmla="*/ 496695 h 6858000"/>
              <a:gd name="connsiteX48" fmla="*/ 8131809 w 11837227"/>
              <a:gd name="connsiteY48" fmla="*/ 618490 h 6858000"/>
              <a:gd name="connsiteX49" fmla="*/ 10486389 w 11837227"/>
              <a:gd name="connsiteY49" fmla="*/ 1795780 h 6858000"/>
              <a:gd name="connsiteX50" fmla="*/ 10759439 w 11837227"/>
              <a:gd name="connsiteY50" fmla="*/ 1939290 h 6858000"/>
              <a:gd name="connsiteX51" fmla="*/ 11288712 w 11837227"/>
              <a:gd name="connsiteY51" fmla="*/ 2224564 h 6858000"/>
              <a:gd name="connsiteX52" fmla="*/ 11837227 w 11837227"/>
              <a:gd name="connsiteY52" fmla="*/ 2521293 h 6858000"/>
              <a:gd name="connsiteX53" fmla="*/ 11288712 w 11837227"/>
              <a:gd name="connsiteY53" fmla="*/ 2224565 h 6858000"/>
              <a:gd name="connsiteX54" fmla="*/ 10759440 w 11837227"/>
              <a:gd name="connsiteY54" fmla="*/ 1939291 h 6858000"/>
              <a:gd name="connsiteX55" fmla="*/ 10486390 w 11837227"/>
              <a:gd name="connsiteY55" fmla="*/ 1795782 h 6858000"/>
              <a:gd name="connsiteX56" fmla="*/ 8131810 w 11837227"/>
              <a:gd name="connsiteY56" fmla="*/ 619761 h 6858000"/>
              <a:gd name="connsiteX57" fmla="*/ 7927023 w 11837227"/>
              <a:gd name="connsiteY57" fmla="*/ 479920 h 6858000"/>
              <a:gd name="connsiteX58" fmla="*/ 7788060 w 11837227"/>
              <a:gd name="connsiteY58" fmla="*/ 373174 h 6858000"/>
              <a:gd name="connsiteX59" fmla="*/ 7778945 w 11837227"/>
              <a:gd name="connsiteY59" fmla="*/ 366172 h 6858000"/>
              <a:gd name="connsiteX60" fmla="*/ 7788060 w 11837227"/>
              <a:gd name="connsiteY60" fmla="*/ 373174 h 6858000"/>
              <a:gd name="connsiteX61" fmla="*/ 7780464 w 11837227"/>
              <a:gd name="connsiteY61" fmla="*/ 367450 h 6858000"/>
              <a:gd name="connsiteX62" fmla="*/ 7778945 w 11837227"/>
              <a:gd name="connsiteY62" fmla="*/ 366172 h 6858000"/>
              <a:gd name="connsiteX63" fmla="*/ 9531011 w 11837227"/>
              <a:gd name="connsiteY63" fmla="*/ 297464 h 6858000"/>
              <a:gd name="connsiteX64" fmla="*/ 9575319 w 11837227"/>
              <a:gd name="connsiteY64" fmla="*/ 320654 h 6858000"/>
              <a:gd name="connsiteX65" fmla="*/ 9631237 w 11837227"/>
              <a:gd name="connsiteY65" fmla="*/ 352953 h 6858000"/>
              <a:gd name="connsiteX66" fmla="*/ 9531011 w 11837227"/>
              <a:gd name="connsiteY66" fmla="*/ 297464 h 6858000"/>
              <a:gd name="connsiteX67" fmla="*/ 7544713 w 11837227"/>
              <a:gd name="connsiteY67" fmla="*/ 169063 h 6858000"/>
              <a:gd name="connsiteX68" fmla="*/ 7778945 w 11837227"/>
              <a:gd name="connsiteY68" fmla="*/ 366172 h 6858000"/>
              <a:gd name="connsiteX69" fmla="*/ 7732713 w 11837227"/>
              <a:gd name="connsiteY69" fmla="*/ 330658 h 6858000"/>
              <a:gd name="connsiteX70" fmla="*/ 7544713 w 11837227"/>
              <a:gd name="connsiteY70" fmla="*/ 169063 h 6858000"/>
              <a:gd name="connsiteX71" fmla="*/ 9249484 w 11837227"/>
              <a:gd name="connsiteY71" fmla="*/ 152855 h 6858000"/>
              <a:gd name="connsiteX72" fmla="*/ 9303483 w 11837227"/>
              <a:gd name="connsiteY72" fmla="*/ 178384 h 6858000"/>
              <a:gd name="connsiteX73" fmla="*/ 9355726 w 11837227"/>
              <a:gd name="connsiteY73" fmla="*/ 205726 h 6858000"/>
              <a:gd name="connsiteX74" fmla="*/ 9249484 w 11837227"/>
              <a:gd name="connsiteY74" fmla="*/ 152855 h 6858000"/>
              <a:gd name="connsiteX75" fmla="*/ 7414333 w 11837227"/>
              <a:gd name="connsiteY75" fmla="*/ 56995 h 6858000"/>
              <a:gd name="connsiteX76" fmla="*/ 7544713 w 11837227"/>
              <a:gd name="connsiteY76" fmla="*/ 169063 h 6858000"/>
              <a:gd name="connsiteX77" fmla="*/ 7454642 w 11837227"/>
              <a:gd name="connsiteY77" fmla="*/ 93267 h 6858000"/>
              <a:gd name="connsiteX78" fmla="*/ 7414333 w 11837227"/>
              <a:gd name="connsiteY78" fmla="*/ 56995 h 6858000"/>
              <a:gd name="connsiteX79" fmla="*/ 8961873 w 11837227"/>
              <a:gd name="connsiteY79" fmla="*/ 19913 h 6858000"/>
              <a:gd name="connsiteX80" fmla="*/ 9025753 w 11837227"/>
              <a:gd name="connsiteY80" fmla="*/ 47084 h 6858000"/>
              <a:gd name="connsiteX81" fmla="*/ 9073123 w 11837227"/>
              <a:gd name="connsiteY81" fmla="*/ 69479 h 6858000"/>
              <a:gd name="connsiteX82" fmla="*/ 8961873 w 11837227"/>
              <a:gd name="connsiteY82" fmla="*/ 19913 h 6858000"/>
              <a:gd name="connsiteX83" fmla="*/ 7348739 w 11837227"/>
              <a:gd name="connsiteY83" fmla="*/ 0 h 6858000"/>
              <a:gd name="connsiteX84" fmla="*/ 7350996 w 11837227"/>
              <a:gd name="connsiteY84" fmla="*/ 0 h 6858000"/>
              <a:gd name="connsiteX85" fmla="*/ 7414333 w 11837227"/>
              <a:gd name="connsiteY85" fmla="*/ 56995 h 6858000"/>
              <a:gd name="connsiteX86" fmla="*/ 7364096 w 11837227"/>
              <a:gd name="connsiteY86" fmla="*/ 13813 h 6858000"/>
              <a:gd name="connsiteX87" fmla="*/ 7348739 w 11837227"/>
              <a:gd name="connsiteY87" fmla="*/ 0 h 6858000"/>
              <a:gd name="connsiteX88" fmla="*/ 1493836 w 11837227"/>
              <a:gd name="connsiteY88" fmla="*/ 0 h 6858000"/>
              <a:gd name="connsiteX89" fmla="*/ 1493841 w 11837227"/>
              <a:gd name="connsiteY89" fmla="*/ 0 h 6858000"/>
              <a:gd name="connsiteX90" fmla="*/ 1318737 w 11837227"/>
              <a:gd name="connsiteY90" fmla="*/ 70646 h 6858000"/>
              <a:gd name="connsiteX91" fmla="*/ 1036321 w 11837227"/>
              <a:gd name="connsiteY91" fmla="*/ 194312 h 6858000"/>
              <a:gd name="connsiteX92" fmla="*/ 130672 w 11837227"/>
              <a:gd name="connsiteY92" fmla="*/ 671514 h 6858000"/>
              <a:gd name="connsiteX93" fmla="*/ 0 w 11837227"/>
              <a:gd name="connsiteY93" fmla="*/ 747683 h 6858000"/>
              <a:gd name="connsiteX94" fmla="*/ 0 w 11837227"/>
              <a:gd name="connsiteY94" fmla="*/ 747682 h 6858000"/>
              <a:gd name="connsiteX95" fmla="*/ 130672 w 11837227"/>
              <a:gd name="connsiteY95" fmla="*/ 671513 h 6858000"/>
              <a:gd name="connsiteX96" fmla="*/ 1036321 w 11837227"/>
              <a:gd name="connsiteY96" fmla="*/ 194310 h 6858000"/>
              <a:gd name="connsiteX97" fmla="*/ 1318737 w 11837227"/>
              <a:gd name="connsiteY97" fmla="*/ 70644 h 6858000"/>
              <a:gd name="connsiteX98" fmla="*/ 1493836 w 11837227"/>
              <a:gd name="connsiteY98" fmla="*/ 0 h 6858000"/>
              <a:gd name="connsiteX0" fmla="*/ 11625258 w 11648080"/>
              <a:gd name="connsiteY0" fmla="*/ 2106063 h 6858000"/>
              <a:gd name="connsiteX1" fmla="*/ 11629346 w 11648080"/>
              <a:gd name="connsiteY1" fmla="*/ 2112520 h 6858000"/>
              <a:gd name="connsiteX2" fmla="*/ 11648080 w 11648080"/>
              <a:gd name="connsiteY2" fmla="*/ 2146495 h 6858000"/>
              <a:gd name="connsiteX3" fmla="*/ 11625258 w 11648080"/>
              <a:gd name="connsiteY3" fmla="*/ 2106063 h 6858000"/>
              <a:gd name="connsiteX4" fmla="*/ 11494204 w 11648080"/>
              <a:gd name="connsiteY4" fmla="*/ 1905523 h 6858000"/>
              <a:gd name="connsiteX5" fmla="*/ 11523841 w 11648080"/>
              <a:gd name="connsiteY5" fmla="*/ 1945872 h 6858000"/>
              <a:gd name="connsiteX6" fmla="*/ 11550310 w 11648080"/>
              <a:gd name="connsiteY6" fmla="*/ 1987681 h 6858000"/>
              <a:gd name="connsiteX7" fmla="*/ 11494204 w 11648080"/>
              <a:gd name="connsiteY7" fmla="*/ 1905523 h 6858000"/>
              <a:gd name="connsiteX8" fmla="*/ 11326061 w 11648080"/>
              <a:gd name="connsiteY8" fmla="*/ 1692532 h 6858000"/>
              <a:gd name="connsiteX9" fmla="*/ 11406282 w 11648080"/>
              <a:gd name="connsiteY9" fmla="*/ 1785822 h 6858000"/>
              <a:gd name="connsiteX10" fmla="*/ 11420409 w 11648080"/>
              <a:gd name="connsiteY10" fmla="*/ 1805055 h 6858000"/>
              <a:gd name="connsiteX11" fmla="*/ 11326061 w 11648080"/>
              <a:gd name="connsiteY11" fmla="*/ 1692532 h 6858000"/>
              <a:gd name="connsiteX12" fmla="*/ 10829453 w 11648080"/>
              <a:gd name="connsiteY12" fmla="*/ 1199865 h 6858000"/>
              <a:gd name="connsiteX13" fmla="*/ 10830227 w 11648080"/>
              <a:gd name="connsiteY13" fmla="*/ 1200518 h 6858000"/>
              <a:gd name="connsiteX14" fmla="*/ 10836860 w 11648080"/>
              <a:gd name="connsiteY14" fmla="*/ 1206669 h 6858000"/>
              <a:gd name="connsiteX15" fmla="*/ 10829453 w 11648080"/>
              <a:gd name="connsiteY15" fmla="*/ 1199865 h 6858000"/>
              <a:gd name="connsiteX16" fmla="*/ 10586019 w 11648080"/>
              <a:gd name="connsiteY16" fmla="*/ 995058 h 6858000"/>
              <a:gd name="connsiteX17" fmla="*/ 10594661 w 11648080"/>
              <a:gd name="connsiteY17" fmla="*/ 1001698 h 6858000"/>
              <a:gd name="connsiteX18" fmla="*/ 10635916 w 11648080"/>
              <a:gd name="connsiteY18" fmla="*/ 1036517 h 6858000"/>
              <a:gd name="connsiteX19" fmla="*/ 10586019 w 11648080"/>
              <a:gd name="connsiteY19" fmla="*/ 995058 h 6858000"/>
              <a:gd name="connsiteX20" fmla="*/ 10333954 w 11648080"/>
              <a:gd name="connsiteY20" fmla="*/ 802539 h 6858000"/>
              <a:gd name="connsiteX21" fmla="*/ 10350933 w 11648080"/>
              <a:gd name="connsiteY21" fmla="*/ 814415 h 6858000"/>
              <a:gd name="connsiteX22" fmla="*/ 10404349 w 11648080"/>
              <a:gd name="connsiteY22" fmla="*/ 855460 h 6858000"/>
              <a:gd name="connsiteX23" fmla="*/ 10333954 w 11648080"/>
              <a:gd name="connsiteY23" fmla="*/ 802539 h 6858000"/>
              <a:gd name="connsiteX24" fmla="*/ 10073757 w 11648080"/>
              <a:gd name="connsiteY24" fmla="*/ 622182 h 6858000"/>
              <a:gd name="connsiteX25" fmla="*/ 10099498 w 11648080"/>
              <a:gd name="connsiteY25" fmla="*/ 638556 h 6858000"/>
              <a:gd name="connsiteX26" fmla="*/ 10157163 w 11648080"/>
              <a:gd name="connsiteY26" fmla="*/ 678888 h 6858000"/>
              <a:gd name="connsiteX27" fmla="*/ 10073757 w 11648080"/>
              <a:gd name="connsiteY27" fmla="*/ 622182 h 6858000"/>
              <a:gd name="connsiteX28" fmla="*/ 9805942 w 11648080"/>
              <a:gd name="connsiteY28" fmla="*/ 453866 h 6858000"/>
              <a:gd name="connsiteX29" fmla="*/ 9840808 w 11648080"/>
              <a:gd name="connsiteY29" fmla="*/ 474006 h 6858000"/>
              <a:gd name="connsiteX30" fmla="*/ 9898785 w 11648080"/>
              <a:gd name="connsiteY30" fmla="*/ 510885 h 6858000"/>
              <a:gd name="connsiteX31" fmla="*/ 9805942 w 11648080"/>
              <a:gd name="connsiteY31" fmla="*/ 453866 h 6858000"/>
              <a:gd name="connsiteX32" fmla="*/ 5416523 w 11648080"/>
              <a:gd name="connsiteY32" fmla="*/ 392344 h 6858000"/>
              <a:gd name="connsiteX33" fmla="*/ 7023101 w 11648080"/>
              <a:gd name="connsiteY33" fmla="*/ 661672 h 6858000"/>
              <a:gd name="connsiteX34" fmla="*/ 9331960 w 11648080"/>
              <a:gd name="connsiteY34" fmla="*/ 2457451 h 6858000"/>
              <a:gd name="connsiteX35" fmla="*/ 10982484 w 11648080"/>
              <a:gd name="connsiteY35" fmla="*/ 4320382 h 6858000"/>
              <a:gd name="connsiteX36" fmla="*/ 11046723 w 11648080"/>
              <a:gd name="connsiteY36" fmla="*/ 4399855 h 6858000"/>
              <a:gd name="connsiteX37" fmla="*/ 10950686 w 11648080"/>
              <a:gd name="connsiteY37" fmla="*/ 4415959 h 6858000"/>
              <a:gd name="connsiteX38" fmla="*/ 9269729 w 11648080"/>
              <a:gd name="connsiteY38" fmla="*/ 5092699 h 6858000"/>
              <a:gd name="connsiteX39" fmla="*/ 8111807 w 11648080"/>
              <a:gd name="connsiteY39" fmla="*/ 6820535 h 6858000"/>
              <a:gd name="connsiteX40" fmla="*/ 8096827 w 11648080"/>
              <a:gd name="connsiteY40" fmla="*/ 6858000 h 6858000"/>
              <a:gd name="connsiteX41" fmla="*/ 0 w 11648080"/>
              <a:gd name="connsiteY41" fmla="*/ 6858000 h 6858000"/>
              <a:gd name="connsiteX42" fmla="*/ 0 w 11648080"/>
              <a:gd name="connsiteY42" fmla="*/ 1312476 h 6858000"/>
              <a:gd name="connsiteX43" fmla="*/ 393384 w 11648080"/>
              <a:gd name="connsiteY43" fmla="*/ 1170010 h 6858000"/>
              <a:gd name="connsiteX44" fmla="*/ 1790701 w 11648080"/>
              <a:gd name="connsiteY44" fmla="*/ 836932 h 6858000"/>
              <a:gd name="connsiteX45" fmla="*/ 5416523 w 11648080"/>
              <a:gd name="connsiteY45" fmla="*/ 392344 h 6858000"/>
              <a:gd name="connsiteX46" fmla="*/ 7788060 w 11648080"/>
              <a:gd name="connsiteY46" fmla="*/ 373174 h 6858000"/>
              <a:gd name="connsiteX47" fmla="*/ 7951989 w 11648080"/>
              <a:gd name="connsiteY47" fmla="*/ 496695 h 6858000"/>
              <a:gd name="connsiteX48" fmla="*/ 8131809 w 11648080"/>
              <a:gd name="connsiteY48" fmla="*/ 618490 h 6858000"/>
              <a:gd name="connsiteX49" fmla="*/ 10486389 w 11648080"/>
              <a:gd name="connsiteY49" fmla="*/ 1795780 h 6858000"/>
              <a:gd name="connsiteX50" fmla="*/ 10759439 w 11648080"/>
              <a:gd name="connsiteY50" fmla="*/ 1939290 h 6858000"/>
              <a:gd name="connsiteX51" fmla="*/ 11288712 w 11648080"/>
              <a:gd name="connsiteY51" fmla="*/ 2224564 h 6858000"/>
              <a:gd name="connsiteX52" fmla="*/ 11288712 w 11648080"/>
              <a:gd name="connsiteY52" fmla="*/ 2224565 h 6858000"/>
              <a:gd name="connsiteX53" fmla="*/ 10759440 w 11648080"/>
              <a:gd name="connsiteY53" fmla="*/ 1939291 h 6858000"/>
              <a:gd name="connsiteX54" fmla="*/ 10486390 w 11648080"/>
              <a:gd name="connsiteY54" fmla="*/ 1795782 h 6858000"/>
              <a:gd name="connsiteX55" fmla="*/ 8131810 w 11648080"/>
              <a:gd name="connsiteY55" fmla="*/ 619761 h 6858000"/>
              <a:gd name="connsiteX56" fmla="*/ 7927023 w 11648080"/>
              <a:gd name="connsiteY56" fmla="*/ 479920 h 6858000"/>
              <a:gd name="connsiteX57" fmla="*/ 7788060 w 11648080"/>
              <a:gd name="connsiteY57" fmla="*/ 373174 h 6858000"/>
              <a:gd name="connsiteX58" fmla="*/ 7778945 w 11648080"/>
              <a:gd name="connsiteY58" fmla="*/ 366172 h 6858000"/>
              <a:gd name="connsiteX59" fmla="*/ 7788060 w 11648080"/>
              <a:gd name="connsiteY59" fmla="*/ 373174 h 6858000"/>
              <a:gd name="connsiteX60" fmla="*/ 7780464 w 11648080"/>
              <a:gd name="connsiteY60" fmla="*/ 367450 h 6858000"/>
              <a:gd name="connsiteX61" fmla="*/ 7778945 w 11648080"/>
              <a:gd name="connsiteY61" fmla="*/ 366172 h 6858000"/>
              <a:gd name="connsiteX62" fmla="*/ 9531011 w 11648080"/>
              <a:gd name="connsiteY62" fmla="*/ 297464 h 6858000"/>
              <a:gd name="connsiteX63" fmla="*/ 9575319 w 11648080"/>
              <a:gd name="connsiteY63" fmla="*/ 320654 h 6858000"/>
              <a:gd name="connsiteX64" fmla="*/ 9631237 w 11648080"/>
              <a:gd name="connsiteY64" fmla="*/ 352953 h 6858000"/>
              <a:gd name="connsiteX65" fmla="*/ 9531011 w 11648080"/>
              <a:gd name="connsiteY65" fmla="*/ 297464 h 6858000"/>
              <a:gd name="connsiteX66" fmla="*/ 7544713 w 11648080"/>
              <a:gd name="connsiteY66" fmla="*/ 169063 h 6858000"/>
              <a:gd name="connsiteX67" fmla="*/ 7778945 w 11648080"/>
              <a:gd name="connsiteY67" fmla="*/ 366172 h 6858000"/>
              <a:gd name="connsiteX68" fmla="*/ 7732713 w 11648080"/>
              <a:gd name="connsiteY68" fmla="*/ 330658 h 6858000"/>
              <a:gd name="connsiteX69" fmla="*/ 7544713 w 11648080"/>
              <a:gd name="connsiteY69" fmla="*/ 169063 h 6858000"/>
              <a:gd name="connsiteX70" fmla="*/ 9249484 w 11648080"/>
              <a:gd name="connsiteY70" fmla="*/ 152855 h 6858000"/>
              <a:gd name="connsiteX71" fmla="*/ 9303483 w 11648080"/>
              <a:gd name="connsiteY71" fmla="*/ 178384 h 6858000"/>
              <a:gd name="connsiteX72" fmla="*/ 9355726 w 11648080"/>
              <a:gd name="connsiteY72" fmla="*/ 205726 h 6858000"/>
              <a:gd name="connsiteX73" fmla="*/ 9249484 w 11648080"/>
              <a:gd name="connsiteY73" fmla="*/ 152855 h 6858000"/>
              <a:gd name="connsiteX74" fmla="*/ 7414333 w 11648080"/>
              <a:gd name="connsiteY74" fmla="*/ 56995 h 6858000"/>
              <a:gd name="connsiteX75" fmla="*/ 7544713 w 11648080"/>
              <a:gd name="connsiteY75" fmla="*/ 169063 h 6858000"/>
              <a:gd name="connsiteX76" fmla="*/ 7454642 w 11648080"/>
              <a:gd name="connsiteY76" fmla="*/ 93267 h 6858000"/>
              <a:gd name="connsiteX77" fmla="*/ 7414333 w 11648080"/>
              <a:gd name="connsiteY77" fmla="*/ 56995 h 6858000"/>
              <a:gd name="connsiteX78" fmla="*/ 8961873 w 11648080"/>
              <a:gd name="connsiteY78" fmla="*/ 19913 h 6858000"/>
              <a:gd name="connsiteX79" fmla="*/ 9025753 w 11648080"/>
              <a:gd name="connsiteY79" fmla="*/ 47084 h 6858000"/>
              <a:gd name="connsiteX80" fmla="*/ 9073123 w 11648080"/>
              <a:gd name="connsiteY80" fmla="*/ 69479 h 6858000"/>
              <a:gd name="connsiteX81" fmla="*/ 8961873 w 11648080"/>
              <a:gd name="connsiteY81" fmla="*/ 19913 h 6858000"/>
              <a:gd name="connsiteX82" fmla="*/ 7348739 w 11648080"/>
              <a:gd name="connsiteY82" fmla="*/ 0 h 6858000"/>
              <a:gd name="connsiteX83" fmla="*/ 7350996 w 11648080"/>
              <a:gd name="connsiteY83" fmla="*/ 0 h 6858000"/>
              <a:gd name="connsiteX84" fmla="*/ 7414333 w 11648080"/>
              <a:gd name="connsiteY84" fmla="*/ 56995 h 6858000"/>
              <a:gd name="connsiteX85" fmla="*/ 7364096 w 11648080"/>
              <a:gd name="connsiteY85" fmla="*/ 13813 h 6858000"/>
              <a:gd name="connsiteX86" fmla="*/ 7348739 w 11648080"/>
              <a:gd name="connsiteY86" fmla="*/ 0 h 6858000"/>
              <a:gd name="connsiteX87" fmla="*/ 1493836 w 11648080"/>
              <a:gd name="connsiteY87" fmla="*/ 0 h 6858000"/>
              <a:gd name="connsiteX88" fmla="*/ 1493841 w 11648080"/>
              <a:gd name="connsiteY88" fmla="*/ 0 h 6858000"/>
              <a:gd name="connsiteX89" fmla="*/ 1318737 w 11648080"/>
              <a:gd name="connsiteY89" fmla="*/ 70646 h 6858000"/>
              <a:gd name="connsiteX90" fmla="*/ 1036321 w 11648080"/>
              <a:gd name="connsiteY90" fmla="*/ 194312 h 6858000"/>
              <a:gd name="connsiteX91" fmla="*/ 130672 w 11648080"/>
              <a:gd name="connsiteY91" fmla="*/ 671514 h 6858000"/>
              <a:gd name="connsiteX92" fmla="*/ 0 w 11648080"/>
              <a:gd name="connsiteY92" fmla="*/ 747683 h 6858000"/>
              <a:gd name="connsiteX93" fmla="*/ 0 w 11648080"/>
              <a:gd name="connsiteY93" fmla="*/ 747682 h 6858000"/>
              <a:gd name="connsiteX94" fmla="*/ 130672 w 11648080"/>
              <a:gd name="connsiteY94" fmla="*/ 671513 h 6858000"/>
              <a:gd name="connsiteX95" fmla="*/ 1036321 w 11648080"/>
              <a:gd name="connsiteY95" fmla="*/ 194310 h 6858000"/>
              <a:gd name="connsiteX96" fmla="*/ 1318737 w 11648080"/>
              <a:gd name="connsiteY96" fmla="*/ 70644 h 6858000"/>
              <a:gd name="connsiteX97" fmla="*/ 1493836 w 11648080"/>
              <a:gd name="connsiteY97" fmla="*/ 0 h 6858000"/>
              <a:gd name="connsiteX0" fmla="*/ 11648080 w 11648080"/>
              <a:gd name="connsiteY0" fmla="*/ 2146495 h 6858000"/>
              <a:gd name="connsiteX1" fmla="*/ 11629346 w 11648080"/>
              <a:gd name="connsiteY1" fmla="*/ 2112520 h 6858000"/>
              <a:gd name="connsiteX2" fmla="*/ 11648080 w 11648080"/>
              <a:gd name="connsiteY2" fmla="*/ 2146495 h 6858000"/>
              <a:gd name="connsiteX3" fmla="*/ 11494204 w 11648080"/>
              <a:gd name="connsiteY3" fmla="*/ 1905523 h 6858000"/>
              <a:gd name="connsiteX4" fmla="*/ 11523841 w 11648080"/>
              <a:gd name="connsiteY4" fmla="*/ 1945872 h 6858000"/>
              <a:gd name="connsiteX5" fmla="*/ 11550310 w 11648080"/>
              <a:gd name="connsiteY5" fmla="*/ 1987681 h 6858000"/>
              <a:gd name="connsiteX6" fmla="*/ 11494204 w 11648080"/>
              <a:gd name="connsiteY6" fmla="*/ 1905523 h 6858000"/>
              <a:gd name="connsiteX7" fmla="*/ 11326061 w 11648080"/>
              <a:gd name="connsiteY7" fmla="*/ 1692532 h 6858000"/>
              <a:gd name="connsiteX8" fmla="*/ 11406282 w 11648080"/>
              <a:gd name="connsiteY8" fmla="*/ 1785822 h 6858000"/>
              <a:gd name="connsiteX9" fmla="*/ 11420409 w 11648080"/>
              <a:gd name="connsiteY9" fmla="*/ 1805055 h 6858000"/>
              <a:gd name="connsiteX10" fmla="*/ 11326061 w 11648080"/>
              <a:gd name="connsiteY10" fmla="*/ 1692532 h 6858000"/>
              <a:gd name="connsiteX11" fmla="*/ 10829453 w 11648080"/>
              <a:gd name="connsiteY11" fmla="*/ 1199865 h 6858000"/>
              <a:gd name="connsiteX12" fmla="*/ 10830227 w 11648080"/>
              <a:gd name="connsiteY12" fmla="*/ 1200518 h 6858000"/>
              <a:gd name="connsiteX13" fmla="*/ 10836860 w 11648080"/>
              <a:gd name="connsiteY13" fmla="*/ 1206669 h 6858000"/>
              <a:gd name="connsiteX14" fmla="*/ 10829453 w 11648080"/>
              <a:gd name="connsiteY14" fmla="*/ 1199865 h 6858000"/>
              <a:gd name="connsiteX15" fmla="*/ 10586019 w 11648080"/>
              <a:gd name="connsiteY15" fmla="*/ 995058 h 6858000"/>
              <a:gd name="connsiteX16" fmla="*/ 10594661 w 11648080"/>
              <a:gd name="connsiteY16" fmla="*/ 1001698 h 6858000"/>
              <a:gd name="connsiteX17" fmla="*/ 10635916 w 11648080"/>
              <a:gd name="connsiteY17" fmla="*/ 1036517 h 6858000"/>
              <a:gd name="connsiteX18" fmla="*/ 10586019 w 11648080"/>
              <a:gd name="connsiteY18" fmla="*/ 995058 h 6858000"/>
              <a:gd name="connsiteX19" fmla="*/ 10333954 w 11648080"/>
              <a:gd name="connsiteY19" fmla="*/ 802539 h 6858000"/>
              <a:gd name="connsiteX20" fmla="*/ 10350933 w 11648080"/>
              <a:gd name="connsiteY20" fmla="*/ 814415 h 6858000"/>
              <a:gd name="connsiteX21" fmla="*/ 10404349 w 11648080"/>
              <a:gd name="connsiteY21" fmla="*/ 855460 h 6858000"/>
              <a:gd name="connsiteX22" fmla="*/ 10333954 w 11648080"/>
              <a:gd name="connsiteY22" fmla="*/ 802539 h 6858000"/>
              <a:gd name="connsiteX23" fmla="*/ 10073757 w 11648080"/>
              <a:gd name="connsiteY23" fmla="*/ 622182 h 6858000"/>
              <a:gd name="connsiteX24" fmla="*/ 10099498 w 11648080"/>
              <a:gd name="connsiteY24" fmla="*/ 638556 h 6858000"/>
              <a:gd name="connsiteX25" fmla="*/ 10157163 w 11648080"/>
              <a:gd name="connsiteY25" fmla="*/ 678888 h 6858000"/>
              <a:gd name="connsiteX26" fmla="*/ 10073757 w 11648080"/>
              <a:gd name="connsiteY26" fmla="*/ 622182 h 6858000"/>
              <a:gd name="connsiteX27" fmla="*/ 9805942 w 11648080"/>
              <a:gd name="connsiteY27" fmla="*/ 453866 h 6858000"/>
              <a:gd name="connsiteX28" fmla="*/ 9840808 w 11648080"/>
              <a:gd name="connsiteY28" fmla="*/ 474006 h 6858000"/>
              <a:gd name="connsiteX29" fmla="*/ 9898785 w 11648080"/>
              <a:gd name="connsiteY29" fmla="*/ 510885 h 6858000"/>
              <a:gd name="connsiteX30" fmla="*/ 9805942 w 11648080"/>
              <a:gd name="connsiteY30" fmla="*/ 453866 h 6858000"/>
              <a:gd name="connsiteX31" fmla="*/ 5416523 w 11648080"/>
              <a:gd name="connsiteY31" fmla="*/ 392344 h 6858000"/>
              <a:gd name="connsiteX32" fmla="*/ 7023101 w 11648080"/>
              <a:gd name="connsiteY32" fmla="*/ 661672 h 6858000"/>
              <a:gd name="connsiteX33" fmla="*/ 9331960 w 11648080"/>
              <a:gd name="connsiteY33" fmla="*/ 2457451 h 6858000"/>
              <a:gd name="connsiteX34" fmla="*/ 10982484 w 11648080"/>
              <a:gd name="connsiteY34" fmla="*/ 4320382 h 6858000"/>
              <a:gd name="connsiteX35" fmla="*/ 11046723 w 11648080"/>
              <a:gd name="connsiteY35" fmla="*/ 4399855 h 6858000"/>
              <a:gd name="connsiteX36" fmla="*/ 10950686 w 11648080"/>
              <a:gd name="connsiteY36" fmla="*/ 4415959 h 6858000"/>
              <a:gd name="connsiteX37" fmla="*/ 9269729 w 11648080"/>
              <a:gd name="connsiteY37" fmla="*/ 5092699 h 6858000"/>
              <a:gd name="connsiteX38" fmla="*/ 8111807 w 11648080"/>
              <a:gd name="connsiteY38" fmla="*/ 6820535 h 6858000"/>
              <a:gd name="connsiteX39" fmla="*/ 8096827 w 11648080"/>
              <a:gd name="connsiteY39" fmla="*/ 6858000 h 6858000"/>
              <a:gd name="connsiteX40" fmla="*/ 0 w 11648080"/>
              <a:gd name="connsiteY40" fmla="*/ 6858000 h 6858000"/>
              <a:gd name="connsiteX41" fmla="*/ 0 w 11648080"/>
              <a:gd name="connsiteY41" fmla="*/ 1312476 h 6858000"/>
              <a:gd name="connsiteX42" fmla="*/ 393384 w 11648080"/>
              <a:gd name="connsiteY42" fmla="*/ 1170010 h 6858000"/>
              <a:gd name="connsiteX43" fmla="*/ 1790701 w 11648080"/>
              <a:gd name="connsiteY43" fmla="*/ 836932 h 6858000"/>
              <a:gd name="connsiteX44" fmla="*/ 5416523 w 11648080"/>
              <a:gd name="connsiteY44" fmla="*/ 392344 h 6858000"/>
              <a:gd name="connsiteX45" fmla="*/ 7788060 w 11648080"/>
              <a:gd name="connsiteY45" fmla="*/ 373174 h 6858000"/>
              <a:gd name="connsiteX46" fmla="*/ 7951989 w 11648080"/>
              <a:gd name="connsiteY46" fmla="*/ 496695 h 6858000"/>
              <a:gd name="connsiteX47" fmla="*/ 8131809 w 11648080"/>
              <a:gd name="connsiteY47" fmla="*/ 618490 h 6858000"/>
              <a:gd name="connsiteX48" fmla="*/ 10486389 w 11648080"/>
              <a:gd name="connsiteY48" fmla="*/ 1795780 h 6858000"/>
              <a:gd name="connsiteX49" fmla="*/ 10759439 w 11648080"/>
              <a:gd name="connsiteY49" fmla="*/ 1939290 h 6858000"/>
              <a:gd name="connsiteX50" fmla="*/ 11288712 w 11648080"/>
              <a:gd name="connsiteY50" fmla="*/ 2224564 h 6858000"/>
              <a:gd name="connsiteX51" fmla="*/ 11288712 w 11648080"/>
              <a:gd name="connsiteY51" fmla="*/ 2224565 h 6858000"/>
              <a:gd name="connsiteX52" fmla="*/ 10759440 w 11648080"/>
              <a:gd name="connsiteY52" fmla="*/ 1939291 h 6858000"/>
              <a:gd name="connsiteX53" fmla="*/ 10486390 w 11648080"/>
              <a:gd name="connsiteY53" fmla="*/ 1795782 h 6858000"/>
              <a:gd name="connsiteX54" fmla="*/ 8131810 w 11648080"/>
              <a:gd name="connsiteY54" fmla="*/ 619761 h 6858000"/>
              <a:gd name="connsiteX55" fmla="*/ 7927023 w 11648080"/>
              <a:gd name="connsiteY55" fmla="*/ 479920 h 6858000"/>
              <a:gd name="connsiteX56" fmla="*/ 7788060 w 11648080"/>
              <a:gd name="connsiteY56" fmla="*/ 373174 h 6858000"/>
              <a:gd name="connsiteX57" fmla="*/ 7778945 w 11648080"/>
              <a:gd name="connsiteY57" fmla="*/ 366172 h 6858000"/>
              <a:gd name="connsiteX58" fmla="*/ 7788060 w 11648080"/>
              <a:gd name="connsiteY58" fmla="*/ 373174 h 6858000"/>
              <a:gd name="connsiteX59" fmla="*/ 7780464 w 11648080"/>
              <a:gd name="connsiteY59" fmla="*/ 367450 h 6858000"/>
              <a:gd name="connsiteX60" fmla="*/ 7778945 w 11648080"/>
              <a:gd name="connsiteY60" fmla="*/ 366172 h 6858000"/>
              <a:gd name="connsiteX61" fmla="*/ 9531011 w 11648080"/>
              <a:gd name="connsiteY61" fmla="*/ 297464 h 6858000"/>
              <a:gd name="connsiteX62" fmla="*/ 9575319 w 11648080"/>
              <a:gd name="connsiteY62" fmla="*/ 320654 h 6858000"/>
              <a:gd name="connsiteX63" fmla="*/ 9631237 w 11648080"/>
              <a:gd name="connsiteY63" fmla="*/ 352953 h 6858000"/>
              <a:gd name="connsiteX64" fmla="*/ 9531011 w 11648080"/>
              <a:gd name="connsiteY64" fmla="*/ 297464 h 6858000"/>
              <a:gd name="connsiteX65" fmla="*/ 7544713 w 11648080"/>
              <a:gd name="connsiteY65" fmla="*/ 169063 h 6858000"/>
              <a:gd name="connsiteX66" fmla="*/ 7778945 w 11648080"/>
              <a:gd name="connsiteY66" fmla="*/ 366172 h 6858000"/>
              <a:gd name="connsiteX67" fmla="*/ 7732713 w 11648080"/>
              <a:gd name="connsiteY67" fmla="*/ 330658 h 6858000"/>
              <a:gd name="connsiteX68" fmla="*/ 7544713 w 11648080"/>
              <a:gd name="connsiteY68" fmla="*/ 169063 h 6858000"/>
              <a:gd name="connsiteX69" fmla="*/ 9249484 w 11648080"/>
              <a:gd name="connsiteY69" fmla="*/ 152855 h 6858000"/>
              <a:gd name="connsiteX70" fmla="*/ 9303483 w 11648080"/>
              <a:gd name="connsiteY70" fmla="*/ 178384 h 6858000"/>
              <a:gd name="connsiteX71" fmla="*/ 9355726 w 11648080"/>
              <a:gd name="connsiteY71" fmla="*/ 205726 h 6858000"/>
              <a:gd name="connsiteX72" fmla="*/ 9249484 w 11648080"/>
              <a:gd name="connsiteY72" fmla="*/ 152855 h 6858000"/>
              <a:gd name="connsiteX73" fmla="*/ 7414333 w 11648080"/>
              <a:gd name="connsiteY73" fmla="*/ 56995 h 6858000"/>
              <a:gd name="connsiteX74" fmla="*/ 7544713 w 11648080"/>
              <a:gd name="connsiteY74" fmla="*/ 169063 h 6858000"/>
              <a:gd name="connsiteX75" fmla="*/ 7454642 w 11648080"/>
              <a:gd name="connsiteY75" fmla="*/ 93267 h 6858000"/>
              <a:gd name="connsiteX76" fmla="*/ 7414333 w 11648080"/>
              <a:gd name="connsiteY76" fmla="*/ 56995 h 6858000"/>
              <a:gd name="connsiteX77" fmla="*/ 8961873 w 11648080"/>
              <a:gd name="connsiteY77" fmla="*/ 19913 h 6858000"/>
              <a:gd name="connsiteX78" fmla="*/ 9025753 w 11648080"/>
              <a:gd name="connsiteY78" fmla="*/ 47084 h 6858000"/>
              <a:gd name="connsiteX79" fmla="*/ 9073123 w 11648080"/>
              <a:gd name="connsiteY79" fmla="*/ 69479 h 6858000"/>
              <a:gd name="connsiteX80" fmla="*/ 8961873 w 11648080"/>
              <a:gd name="connsiteY80" fmla="*/ 19913 h 6858000"/>
              <a:gd name="connsiteX81" fmla="*/ 7348739 w 11648080"/>
              <a:gd name="connsiteY81" fmla="*/ 0 h 6858000"/>
              <a:gd name="connsiteX82" fmla="*/ 7350996 w 11648080"/>
              <a:gd name="connsiteY82" fmla="*/ 0 h 6858000"/>
              <a:gd name="connsiteX83" fmla="*/ 7414333 w 11648080"/>
              <a:gd name="connsiteY83" fmla="*/ 56995 h 6858000"/>
              <a:gd name="connsiteX84" fmla="*/ 7364096 w 11648080"/>
              <a:gd name="connsiteY84" fmla="*/ 13813 h 6858000"/>
              <a:gd name="connsiteX85" fmla="*/ 7348739 w 11648080"/>
              <a:gd name="connsiteY85" fmla="*/ 0 h 6858000"/>
              <a:gd name="connsiteX86" fmla="*/ 1493836 w 11648080"/>
              <a:gd name="connsiteY86" fmla="*/ 0 h 6858000"/>
              <a:gd name="connsiteX87" fmla="*/ 1493841 w 11648080"/>
              <a:gd name="connsiteY87" fmla="*/ 0 h 6858000"/>
              <a:gd name="connsiteX88" fmla="*/ 1318737 w 11648080"/>
              <a:gd name="connsiteY88" fmla="*/ 70646 h 6858000"/>
              <a:gd name="connsiteX89" fmla="*/ 1036321 w 11648080"/>
              <a:gd name="connsiteY89" fmla="*/ 194312 h 6858000"/>
              <a:gd name="connsiteX90" fmla="*/ 130672 w 11648080"/>
              <a:gd name="connsiteY90" fmla="*/ 671514 h 6858000"/>
              <a:gd name="connsiteX91" fmla="*/ 0 w 11648080"/>
              <a:gd name="connsiteY91" fmla="*/ 747683 h 6858000"/>
              <a:gd name="connsiteX92" fmla="*/ 0 w 11648080"/>
              <a:gd name="connsiteY92" fmla="*/ 747682 h 6858000"/>
              <a:gd name="connsiteX93" fmla="*/ 130672 w 11648080"/>
              <a:gd name="connsiteY93" fmla="*/ 671513 h 6858000"/>
              <a:gd name="connsiteX94" fmla="*/ 1036321 w 11648080"/>
              <a:gd name="connsiteY94" fmla="*/ 194310 h 6858000"/>
              <a:gd name="connsiteX95" fmla="*/ 1318737 w 11648080"/>
              <a:gd name="connsiteY95" fmla="*/ 70644 h 6858000"/>
              <a:gd name="connsiteX96" fmla="*/ 1493836 w 11648080"/>
              <a:gd name="connsiteY96" fmla="*/ 0 h 6858000"/>
              <a:gd name="connsiteX0" fmla="*/ 11648080 w 11648080"/>
              <a:gd name="connsiteY0" fmla="*/ 2146495 h 6858000"/>
              <a:gd name="connsiteX1" fmla="*/ 11629346 w 11648080"/>
              <a:gd name="connsiteY1" fmla="*/ 2112520 h 6858000"/>
              <a:gd name="connsiteX2" fmla="*/ 11648080 w 11648080"/>
              <a:gd name="connsiteY2" fmla="*/ 2146495 h 6858000"/>
              <a:gd name="connsiteX3" fmla="*/ 11494204 w 11648080"/>
              <a:gd name="connsiteY3" fmla="*/ 1905523 h 6858000"/>
              <a:gd name="connsiteX4" fmla="*/ 11523841 w 11648080"/>
              <a:gd name="connsiteY4" fmla="*/ 1945872 h 6858000"/>
              <a:gd name="connsiteX5" fmla="*/ 11550310 w 11648080"/>
              <a:gd name="connsiteY5" fmla="*/ 1987681 h 6858000"/>
              <a:gd name="connsiteX6" fmla="*/ 11494204 w 11648080"/>
              <a:gd name="connsiteY6" fmla="*/ 1905523 h 6858000"/>
              <a:gd name="connsiteX7" fmla="*/ 11326061 w 11648080"/>
              <a:gd name="connsiteY7" fmla="*/ 1692532 h 6858000"/>
              <a:gd name="connsiteX8" fmla="*/ 11406282 w 11648080"/>
              <a:gd name="connsiteY8" fmla="*/ 1785822 h 6858000"/>
              <a:gd name="connsiteX9" fmla="*/ 11420409 w 11648080"/>
              <a:gd name="connsiteY9" fmla="*/ 1805055 h 6858000"/>
              <a:gd name="connsiteX10" fmla="*/ 11326061 w 11648080"/>
              <a:gd name="connsiteY10" fmla="*/ 1692532 h 6858000"/>
              <a:gd name="connsiteX11" fmla="*/ 10829453 w 11648080"/>
              <a:gd name="connsiteY11" fmla="*/ 1199865 h 6858000"/>
              <a:gd name="connsiteX12" fmla="*/ 10830227 w 11648080"/>
              <a:gd name="connsiteY12" fmla="*/ 1200518 h 6858000"/>
              <a:gd name="connsiteX13" fmla="*/ 10836860 w 11648080"/>
              <a:gd name="connsiteY13" fmla="*/ 1206669 h 6858000"/>
              <a:gd name="connsiteX14" fmla="*/ 10829453 w 11648080"/>
              <a:gd name="connsiteY14" fmla="*/ 1199865 h 6858000"/>
              <a:gd name="connsiteX15" fmla="*/ 10586019 w 11648080"/>
              <a:gd name="connsiteY15" fmla="*/ 995058 h 6858000"/>
              <a:gd name="connsiteX16" fmla="*/ 10594661 w 11648080"/>
              <a:gd name="connsiteY16" fmla="*/ 1001698 h 6858000"/>
              <a:gd name="connsiteX17" fmla="*/ 10635916 w 11648080"/>
              <a:gd name="connsiteY17" fmla="*/ 1036517 h 6858000"/>
              <a:gd name="connsiteX18" fmla="*/ 10586019 w 11648080"/>
              <a:gd name="connsiteY18" fmla="*/ 995058 h 6858000"/>
              <a:gd name="connsiteX19" fmla="*/ 10333954 w 11648080"/>
              <a:gd name="connsiteY19" fmla="*/ 802539 h 6858000"/>
              <a:gd name="connsiteX20" fmla="*/ 10350933 w 11648080"/>
              <a:gd name="connsiteY20" fmla="*/ 814415 h 6858000"/>
              <a:gd name="connsiteX21" fmla="*/ 10404349 w 11648080"/>
              <a:gd name="connsiteY21" fmla="*/ 855460 h 6858000"/>
              <a:gd name="connsiteX22" fmla="*/ 10333954 w 11648080"/>
              <a:gd name="connsiteY22" fmla="*/ 802539 h 6858000"/>
              <a:gd name="connsiteX23" fmla="*/ 10073757 w 11648080"/>
              <a:gd name="connsiteY23" fmla="*/ 622182 h 6858000"/>
              <a:gd name="connsiteX24" fmla="*/ 10099498 w 11648080"/>
              <a:gd name="connsiteY24" fmla="*/ 638556 h 6858000"/>
              <a:gd name="connsiteX25" fmla="*/ 10157163 w 11648080"/>
              <a:gd name="connsiteY25" fmla="*/ 678888 h 6858000"/>
              <a:gd name="connsiteX26" fmla="*/ 10073757 w 11648080"/>
              <a:gd name="connsiteY26" fmla="*/ 622182 h 6858000"/>
              <a:gd name="connsiteX27" fmla="*/ 9805942 w 11648080"/>
              <a:gd name="connsiteY27" fmla="*/ 453866 h 6858000"/>
              <a:gd name="connsiteX28" fmla="*/ 9840808 w 11648080"/>
              <a:gd name="connsiteY28" fmla="*/ 474006 h 6858000"/>
              <a:gd name="connsiteX29" fmla="*/ 9898785 w 11648080"/>
              <a:gd name="connsiteY29" fmla="*/ 510885 h 6858000"/>
              <a:gd name="connsiteX30" fmla="*/ 9805942 w 11648080"/>
              <a:gd name="connsiteY30" fmla="*/ 453866 h 6858000"/>
              <a:gd name="connsiteX31" fmla="*/ 5416523 w 11648080"/>
              <a:gd name="connsiteY31" fmla="*/ 392344 h 6858000"/>
              <a:gd name="connsiteX32" fmla="*/ 7023101 w 11648080"/>
              <a:gd name="connsiteY32" fmla="*/ 661672 h 6858000"/>
              <a:gd name="connsiteX33" fmla="*/ 9331960 w 11648080"/>
              <a:gd name="connsiteY33" fmla="*/ 2457451 h 6858000"/>
              <a:gd name="connsiteX34" fmla="*/ 10982484 w 11648080"/>
              <a:gd name="connsiteY34" fmla="*/ 4320382 h 6858000"/>
              <a:gd name="connsiteX35" fmla="*/ 11046723 w 11648080"/>
              <a:gd name="connsiteY35" fmla="*/ 4399855 h 6858000"/>
              <a:gd name="connsiteX36" fmla="*/ 10950686 w 11648080"/>
              <a:gd name="connsiteY36" fmla="*/ 4415959 h 6858000"/>
              <a:gd name="connsiteX37" fmla="*/ 9269729 w 11648080"/>
              <a:gd name="connsiteY37" fmla="*/ 5092699 h 6858000"/>
              <a:gd name="connsiteX38" fmla="*/ 8111807 w 11648080"/>
              <a:gd name="connsiteY38" fmla="*/ 6820535 h 6858000"/>
              <a:gd name="connsiteX39" fmla="*/ 8096827 w 11648080"/>
              <a:gd name="connsiteY39" fmla="*/ 6858000 h 6858000"/>
              <a:gd name="connsiteX40" fmla="*/ 0 w 11648080"/>
              <a:gd name="connsiteY40" fmla="*/ 6858000 h 6858000"/>
              <a:gd name="connsiteX41" fmla="*/ 0 w 11648080"/>
              <a:gd name="connsiteY41" fmla="*/ 1312476 h 6858000"/>
              <a:gd name="connsiteX42" fmla="*/ 393384 w 11648080"/>
              <a:gd name="connsiteY42" fmla="*/ 1170010 h 6858000"/>
              <a:gd name="connsiteX43" fmla="*/ 1790701 w 11648080"/>
              <a:gd name="connsiteY43" fmla="*/ 836932 h 6858000"/>
              <a:gd name="connsiteX44" fmla="*/ 5416523 w 11648080"/>
              <a:gd name="connsiteY44" fmla="*/ 392344 h 6858000"/>
              <a:gd name="connsiteX45" fmla="*/ 7788060 w 11648080"/>
              <a:gd name="connsiteY45" fmla="*/ 373174 h 6858000"/>
              <a:gd name="connsiteX46" fmla="*/ 7951989 w 11648080"/>
              <a:gd name="connsiteY46" fmla="*/ 496695 h 6858000"/>
              <a:gd name="connsiteX47" fmla="*/ 8131809 w 11648080"/>
              <a:gd name="connsiteY47" fmla="*/ 618490 h 6858000"/>
              <a:gd name="connsiteX48" fmla="*/ 10486389 w 11648080"/>
              <a:gd name="connsiteY48" fmla="*/ 1795780 h 6858000"/>
              <a:gd name="connsiteX49" fmla="*/ 10759439 w 11648080"/>
              <a:gd name="connsiteY49" fmla="*/ 1939290 h 6858000"/>
              <a:gd name="connsiteX50" fmla="*/ 11288712 w 11648080"/>
              <a:gd name="connsiteY50" fmla="*/ 2224564 h 6858000"/>
              <a:gd name="connsiteX51" fmla="*/ 11288712 w 11648080"/>
              <a:gd name="connsiteY51" fmla="*/ 2224565 h 6858000"/>
              <a:gd name="connsiteX52" fmla="*/ 10759440 w 11648080"/>
              <a:gd name="connsiteY52" fmla="*/ 1939291 h 6858000"/>
              <a:gd name="connsiteX53" fmla="*/ 10486390 w 11648080"/>
              <a:gd name="connsiteY53" fmla="*/ 1795782 h 6858000"/>
              <a:gd name="connsiteX54" fmla="*/ 8131810 w 11648080"/>
              <a:gd name="connsiteY54" fmla="*/ 619761 h 6858000"/>
              <a:gd name="connsiteX55" fmla="*/ 7927023 w 11648080"/>
              <a:gd name="connsiteY55" fmla="*/ 479920 h 6858000"/>
              <a:gd name="connsiteX56" fmla="*/ 7788060 w 11648080"/>
              <a:gd name="connsiteY56" fmla="*/ 373174 h 6858000"/>
              <a:gd name="connsiteX57" fmla="*/ 7778945 w 11648080"/>
              <a:gd name="connsiteY57" fmla="*/ 366172 h 6858000"/>
              <a:gd name="connsiteX58" fmla="*/ 7788060 w 11648080"/>
              <a:gd name="connsiteY58" fmla="*/ 373174 h 6858000"/>
              <a:gd name="connsiteX59" fmla="*/ 7780464 w 11648080"/>
              <a:gd name="connsiteY59" fmla="*/ 367450 h 6858000"/>
              <a:gd name="connsiteX60" fmla="*/ 7778945 w 11648080"/>
              <a:gd name="connsiteY60" fmla="*/ 366172 h 6858000"/>
              <a:gd name="connsiteX61" fmla="*/ 9531011 w 11648080"/>
              <a:gd name="connsiteY61" fmla="*/ 297464 h 6858000"/>
              <a:gd name="connsiteX62" fmla="*/ 9575319 w 11648080"/>
              <a:gd name="connsiteY62" fmla="*/ 320654 h 6858000"/>
              <a:gd name="connsiteX63" fmla="*/ 9631237 w 11648080"/>
              <a:gd name="connsiteY63" fmla="*/ 352953 h 6858000"/>
              <a:gd name="connsiteX64" fmla="*/ 9531011 w 11648080"/>
              <a:gd name="connsiteY64" fmla="*/ 297464 h 6858000"/>
              <a:gd name="connsiteX65" fmla="*/ 7544713 w 11648080"/>
              <a:gd name="connsiteY65" fmla="*/ 169063 h 6858000"/>
              <a:gd name="connsiteX66" fmla="*/ 7778945 w 11648080"/>
              <a:gd name="connsiteY66" fmla="*/ 366172 h 6858000"/>
              <a:gd name="connsiteX67" fmla="*/ 7732713 w 11648080"/>
              <a:gd name="connsiteY67" fmla="*/ 330658 h 6858000"/>
              <a:gd name="connsiteX68" fmla="*/ 7544713 w 11648080"/>
              <a:gd name="connsiteY68" fmla="*/ 169063 h 6858000"/>
              <a:gd name="connsiteX69" fmla="*/ 9249484 w 11648080"/>
              <a:gd name="connsiteY69" fmla="*/ 152855 h 6858000"/>
              <a:gd name="connsiteX70" fmla="*/ 9303483 w 11648080"/>
              <a:gd name="connsiteY70" fmla="*/ 178384 h 6858000"/>
              <a:gd name="connsiteX71" fmla="*/ 9355726 w 11648080"/>
              <a:gd name="connsiteY71" fmla="*/ 205726 h 6858000"/>
              <a:gd name="connsiteX72" fmla="*/ 9249484 w 11648080"/>
              <a:gd name="connsiteY72" fmla="*/ 152855 h 6858000"/>
              <a:gd name="connsiteX73" fmla="*/ 7414333 w 11648080"/>
              <a:gd name="connsiteY73" fmla="*/ 56995 h 6858000"/>
              <a:gd name="connsiteX74" fmla="*/ 7544713 w 11648080"/>
              <a:gd name="connsiteY74" fmla="*/ 169063 h 6858000"/>
              <a:gd name="connsiteX75" fmla="*/ 7454642 w 11648080"/>
              <a:gd name="connsiteY75" fmla="*/ 93267 h 6858000"/>
              <a:gd name="connsiteX76" fmla="*/ 7414333 w 11648080"/>
              <a:gd name="connsiteY76" fmla="*/ 56995 h 6858000"/>
              <a:gd name="connsiteX77" fmla="*/ 9073123 w 11648080"/>
              <a:gd name="connsiteY77" fmla="*/ 69479 h 6858000"/>
              <a:gd name="connsiteX78" fmla="*/ 9025753 w 11648080"/>
              <a:gd name="connsiteY78" fmla="*/ 47084 h 6858000"/>
              <a:gd name="connsiteX79" fmla="*/ 9073123 w 11648080"/>
              <a:gd name="connsiteY79" fmla="*/ 69479 h 6858000"/>
              <a:gd name="connsiteX80" fmla="*/ 7348739 w 11648080"/>
              <a:gd name="connsiteY80" fmla="*/ 0 h 6858000"/>
              <a:gd name="connsiteX81" fmla="*/ 7350996 w 11648080"/>
              <a:gd name="connsiteY81" fmla="*/ 0 h 6858000"/>
              <a:gd name="connsiteX82" fmla="*/ 7414333 w 11648080"/>
              <a:gd name="connsiteY82" fmla="*/ 56995 h 6858000"/>
              <a:gd name="connsiteX83" fmla="*/ 7364096 w 11648080"/>
              <a:gd name="connsiteY83" fmla="*/ 13813 h 6858000"/>
              <a:gd name="connsiteX84" fmla="*/ 7348739 w 11648080"/>
              <a:gd name="connsiteY84" fmla="*/ 0 h 6858000"/>
              <a:gd name="connsiteX85" fmla="*/ 1493836 w 11648080"/>
              <a:gd name="connsiteY85" fmla="*/ 0 h 6858000"/>
              <a:gd name="connsiteX86" fmla="*/ 1493841 w 11648080"/>
              <a:gd name="connsiteY86" fmla="*/ 0 h 6858000"/>
              <a:gd name="connsiteX87" fmla="*/ 1318737 w 11648080"/>
              <a:gd name="connsiteY87" fmla="*/ 70646 h 6858000"/>
              <a:gd name="connsiteX88" fmla="*/ 1036321 w 11648080"/>
              <a:gd name="connsiteY88" fmla="*/ 194312 h 6858000"/>
              <a:gd name="connsiteX89" fmla="*/ 130672 w 11648080"/>
              <a:gd name="connsiteY89" fmla="*/ 671514 h 6858000"/>
              <a:gd name="connsiteX90" fmla="*/ 0 w 11648080"/>
              <a:gd name="connsiteY90" fmla="*/ 747683 h 6858000"/>
              <a:gd name="connsiteX91" fmla="*/ 0 w 11648080"/>
              <a:gd name="connsiteY91" fmla="*/ 747682 h 6858000"/>
              <a:gd name="connsiteX92" fmla="*/ 130672 w 11648080"/>
              <a:gd name="connsiteY92" fmla="*/ 671513 h 6858000"/>
              <a:gd name="connsiteX93" fmla="*/ 1036321 w 11648080"/>
              <a:gd name="connsiteY93" fmla="*/ 194310 h 6858000"/>
              <a:gd name="connsiteX94" fmla="*/ 1318737 w 11648080"/>
              <a:gd name="connsiteY94" fmla="*/ 70644 h 6858000"/>
              <a:gd name="connsiteX95" fmla="*/ 1493836 w 11648080"/>
              <a:gd name="connsiteY95" fmla="*/ 0 h 6858000"/>
              <a:gd name="connsiteX0" fmla="*/ 11648080 w 11648080"/>
              <a:gd name="connsiteY0" fmla="*/ 2146495 h 6858000"/>
              <a:gd name="connsiteX1" fmla="*/ 11629346 w 11648080"/>
              <a:gd name="connsiteY1" fmla="*/ 2112520 h 6858000"/>
              <a:gd name="connsiteX2" fmla="*/ 11648080 w 11648080"/>
              <a:gd name="connsiteY2" fmla="*/ 2146495 h 6858000"/>
              <a:gd name="connsiteX3" fmla="*/ 11494204 w 11648080"/>
              <a:gd name="connsiteY3" fmla="*/ 1905523 h 6858000"/>
              <a:gd name="connsiteX4" fmla="*/ 11523841 w 11648080"/>
              <a:gd name="connsiteY4" fmla="*/ 1945872 h 6858000"/>
              <a:gd name="connsiteX5" fmla="*/ 11550310 w 11648080"/>
              <a:gd name="connsiteY5" fmla="*/ 1987681 h 6858000"/>
              <a:gd name="connsiteX6" fmla="*/ 11494204 w 11648080"/>
              <a:gd name="connsiteY6" fmla="*/ 1905523 h 6858000"/>
              <a:gd name="connsiteX7" fmla="*/ 11326061 w 11648080"/>
              <a:gd name="connsiteY7" fmla="*/ 1692532 h 6858000"/>
              <a:gd name="connsiteX8" fmla="*/ 11406282 w 11648080"/>
              <a:gd name="connsiteY8" fmla="*/ 1785822 h 6858000"/>
              <a:gd name="connsiteX9" fmla="*/ 11420409 w 11648080"/>
              <a:gd name="connsiteY9" fmla="*/ 1805055 h 6858000"/>
              <a:gd name="connsiteX10" fmla="*/ 11326061 w 11648080"/>
              <a:gd name="connsiteY10" fmla="*/ 1692532 h 6858000"/>
              <a:gd name="connsiteX11" fmla="*/ 10829453 w 11648080"/>
              <a:gd name="connsiteY11" fmla="*/ 1199865 h 6858000"/>
              <a:gd name="connsiteX12" fmla="*/ 10830227 w 11648080"/>
              <a:gd name="connsiteY12" fmla="*/ 1200518 h 6858000"/>
              <a:gd name="connsiteX13" fmla="*/ 10836860 w 11648080"/>
              <a:gd name="connsiteY13" fmla="*/ 1206669 h 6858000"/>
              <a:gd name="connsiteX14" fmla="*/ 10829453 w 11648080"/>
              <a:gd name="connsiteY14" fmla="*/ 1199865 h 6858000"/>
              <a:gd name="connsiteX15" fmla="*/ 10586019 w 11648080"/>
              <a:gd name="connsiteY15" fmla="*/ 995058 h 6858000"/>
              <a:gd name="connsiteX16" fmla="*/ 10594661 w 11648080"/>
              <a:gd name="connsiteY16" fmla="*/ 1001698 h 6858000"/>
              <a:gd name="connsiteX17" fmla="*/ 10635916 w 11648080"/>
              <a:gd name="connsiteY17" fmla="*/ 1036517 h 6858000"/>
              <a:gd name="connsiteX18" fmla="*/ 10586019 w 11648080"/>
              <a:gd name="connsiteY18" fmla="*/ 995058 h 6858000"/>
              <a:gd name="connsiteX19" fmla="*/ 10333954 w 11648080"/>
              <a:gd name="connsiteY19" fmla="*/ 802539 h 6858000"/>
              <a:gd name="connsiteX20" fmla="*/ 10350933 w 11648080"/>
              <a:gd name="connsiteY20" fmla="*/ 814415 h 6858000"/>
              <a:gd name="connsiteX21" fmla="*/ 10404349 w 11648080"/>
              <a:gd name="connsiteY21" fmla="*/ 855460 h 6858000"/>
              <a:gd name="connsiteX22" fmla="*/ 10333954 w 11648080"/>
              <a:gd name="connsiteY22" fmla="*/ 802539 h 6858000"/>
              <a:gd name="connsiteX23" fmla="*/ 10073757 w 11648080"/>
              <a:gd name="connsiteY23" fmla="*/ 622182 h 6858000"/>
              <a:gd name="connsiteX24" fmla="*/ 10099498 w 11648080"/>
              <a:gd name="connsiteY24" fmla="*/ 638556 h 6858000"/>
              <a:gd name="connsiteX25" fmla="*/ 10157163 w 11648080"/>
              <a:gd name="connsiteY25" fmla="*/ 678888 h 6858000"/>
              <a:gd name="connsiteX26" fmla="*/ 10073757 w 11648080"/>
              <a:gd name="connsiteY26" fmla="*/ 622182 h 6858000"/>
              <a:gd name="connsiteX27" fmla="*/ 9805942 w 11648080"/>
              <a:gd name="connsiteY27" fmla="*/ 453866 h 6858000"/>
              <a:gd name="connsiteX28" fmla="*/ 9840808 w 11648080"/>
              <a:gd name="connsiteY28" fmla="*/ 474006 h 6858000"/>
              <a:gd name="connsiteX29" fmla="*/ 9898785 w 11648080"/>
              <a:gd name="connsiteY29" fmla="*/ 510885 h 6858000"/>
              <a:gd name="connsiteX30" fmla="*/ 9805942 w 11648080"/>
              <a:gd name="connsiteY30" fmla="*/ 453866 h 6858000"/>
              <a:gd name="connsiteX31" fmla="*/ 5416523 w 11648080"/>
              <a:gd name="connsiteY31" fmla="*/ 392344 h 6858000"/>
              <a:gd name="connsiteX32" fmla="*/ 7023101 w 11648080"/>
              <a:gd name="connsiteY32" fmla="*/ 661672 h 6858000"/>
              <a:gd name="connsiteX33" fmla="*/ 9331960 w 11648080"/>
              <a:gd name="connsiteY33" fmla="*/ 2457451 h 6858000"/>
              <a:gd name="connsiteX34" fmla="*/ 10982484 w 11648080"/>
              <a:gd name="connsiteY34" fmla="*/ 4320382 h 6858000"/>
              <a:gd name="connsiteX35" fmla="*/ 11046723 w 11648080"/>
              <a:gd name="connsiteY35" fmla="*/ 4399855 h 6858000"/>
              <a:gd name="connsiteX36" fmla="*/ 10950686 w 11648080"/>
              <a:gd name="connsiteY36" fmla="*/ 4415959 h 6858000"/>
              <a:gd name="connsiteX37" fmla="*/ 9269729 w 11648080"/>
              <a:gd name="connsiteY37" fmla="*/ 5092699 h 6858000"/>
              <a:gd name="connsiteX38" fmla="*/ 8111807 w 11648080"/>
              <a:gd name="connsiteY38" fmla="*/ 6820535 h 6858000"/>
              <a:gd name="connsiteX39" fmla="*/ 8096827 w 11648080"/>
              <a:gd name="connsiteY39" fmla="*/ 6858000 h 6858000"/>
              <a:gd name="connsiteX40" fmla="*/ 0 w 11648080"/>
              <a:gd name="connsiteY40" fmla="*/ 6858000 h 6858000"/>
              <a:gd name="connsiteX41" fmla="*/ 0 w 11648080"/>
              <a:gd name="connsiteY41" fmla="*/ 1312476 h 6858000"/>
              <a:gd name="connsiteX42" fmla="*/ 393384 w 11648080"/>
              <a:gd name="connsiteY42" fmla="*/ 1170010 h 6858000"/>
              <a:gd name="connsiteX43" fmla="*/ 1790701 w 11648080"/>
              <a:gd name="connsiteY43" fmla="*/ 836932 h 6858000"/>
              <a:gd name="connsiteX44" fmla="*/ 5416523 w 11648080"/>
              <a:gd name="connsiteY44" fmla="*/ 392344 h 6858000"/>
              <a:gd name="connsiteX45" fmla="*/ 7788060 w 11648080"/>
              <a:gd name="connsiteY45" fmla="*/ 373174 h 6858000"/>
              <a:gd name="connsiteX46" fmla="*/ 7951989 w 11648080"/>
              <a:gd name="connsiteY46" fmla="*/ 496695 h 6858000"/>
              <a:gd name="connsiteX47" fmla="*/ 8131809 w 11648080"/>
              <a:gd name="connsiteY47" fmla="*/ 618490 h 6858000"/>
              <a:gd name="connsiteX48" fmla="*/ 10486389 w 11648080"/>
              <a:gd name="connsiteY48" fmla="*/ 1795780 h 6858000"/>
              <a:gd name="connsiteX49" fmla="*/ 10759439 w 11648080"/>
              <a:gd name="connsiteY49" fmla="*/ 1939290 h 6858000"/>
              <a:gd name="connsiteX50" fmla="*/ 11288712 w 11648080"/>
              <a:gd name="connsiteY50" fmla="*/ 2224564 h 6858000"/>
              <a:gd name="connsiteX51" fmla="*/ 11288712 w 11648080"/>
              <a:gd name="connsiteY51" fmla="*/ 2224565 h 6858000"/>
              <a:gd name="connsiteX52" fmla="*/ 10759440 w 11648080"/>
              <a:gd name="connsiteY52" fmla="*/ 1939291 h 6858000"/>
              <a:gd name="connsiteX53" fmla="*/ 10486390 w 11648080"/>
              <a:gd name="connsiteY53" fmla="*/ 1795782 h 6858000"/>
              <a:gd name="connsiteX54" fmla="*/ 8131810 w 11648080"/>
              <a:gd name="connsiteY54" fmla="*/ 619761 h 6858000"/>
              <a:gd name="connsiteX55" fmla="*/ 7927023 w 11648080"/>
              <a:gd name="connsiteY55" fmla="*/ 479920 h 6858000"/>
              <a:gd name="connsiteX56" fmla="*/ 7788060 w 11648080"/>
              <a:gd name="connsiteY56" fmla="*/ 373174 h 6858000"/>
              <a:gd name="connsiteX57" fmla="*/ 7778945 w 11648080"/>
              <a:gd name="connsiteY57" fmla="*/ 366172 h 6858000"/>
              <a:gd name="connsiteX58" fmla="*/ 7788060 w 11648080"/>
              <a:gd name="connsiteY58" fmla="*/ 373174 h 6858000"/>
              <a:gd name="connsiteX59" fmla="*/ 7780464 w 11648080"/>
              <a:gd name="connsiteY59" fmla="*/ 367450 h 6858000"/>
              <a:gd name="connsiteX60" fmla="*/ 7778945 w 11648080"/>
              <a:gd name="connsiteY60" fmla="*/ 366172 h 6858000"/>
              <a:gd name="connsiteX61" fmla="*/ 9531011 w 11648080"/>
              <a:gd name="connsiteY61" fmla="*/ 297464 h 6858000"/>
              <a:gd name="connsiteX62" fmla="*/ 9575319 w 11648080"/>
              <a:gd name="connsiteY62" fmla="*/ 320654 h 6858000"/>
              <a:gd name="connsiteX63" fmla="*/ 9631237 w 11648080"/>
              <a:gd name="connsiteY63" fmla="*/ 352953 h 6858000"/>
              <a:gd name="connsiteX64" fmla="*/ 9531011 w 11648080"/>
              <a:gd name="connsiteY64" fmla="*/ 297464 h 6858000"/>
              <a:gd name="connsiteX65" fmla="*/ 7544713 w 11648080"/>
              <a:gd name="connsiteY65" fmla="*/ 169063 h 6858000"/>
              <a:gd name="connsiteX66" fmla="*/ 7778945 w 11648080"/>
              <a:gd name="connsiteY66" fmla="*/ 366172 h 6858000"/>
              <a:gd name="connsiteX67" fmla="*/ 7732713 w 11648080"/>
              <a:gd name="connsiteY67" fmla="*/ 330658 h 6858000"/>
              <a:gd name="connsiteX68" fmla="*/ 7544713 w 11648080"/>
              <a:gd name="connsiteY68" fmla="*/ 169063 h 6858000"/>
              <a:gd name="connsiteX69" fmla="*/ 9249484 w 11648080"/>
              <a:gd name="connsiteY69" fmla="*/ 152855 h 6858000"/>
              <a:gd name="connsiteX70" fmla="*/ 9303483 w 11648080"/>
              <a:gd name="connsiteY70" fmla="*/ 178384 h 6858000"/>
              <a:gd name="connsiteX71" fmla="*/ 9355726 w 11648080"/>
              <a:gd name="connsiteY71" fmla="*/ 205726 h 6858000"/>
              <a:gd name="connsiteX72" fmla="*/ 9249484 w 11648080"/>
              <a:gd name="connsiteY72" fmla="*/ 152855 h 6858000"/>
              <a:gd name="connsiteX73" fmla="*/ 7414333 w 11648080"/>
              <a:gd name="connsiteY73" fmla="*/ 56995 h 6858000"/>
              <a:gd name="connsiteX74" fmla="*/ 7544713 w 11648080"/>
              <a:gd name="connsiteY74" fmla="*/ 169063 h 6858000"/>
              <a:gd name="connsiteX75" fmla="*/ 7454642 w 11648080"/>
              <a:gd name="connsiteY75" fmla="*/ 93267 h 6858000"/>
              <a:gd name="connsiteX76" fmla="*/ 7414333 w 11648080"/>
              <a:gd name="connsiteY76" fmla="*/ 56995 h 6858000"/>
              <a:gd name="connsiteX77" fmla="*/ 7348739 w 11648080"/>
              <a:gd name="connsiteY77" fmla="*/ 0 h 6858000"/>
              <a:gd name="connsiteX78" fmla="*/ 7350996 w 11648080"/>
              <a:gd name="connsiteY78" fmla="*/ 0 h 6858000"/>
              <a:gd name="connsiteX79" fmla="*/ 7414333 w 11648080"/>
              <a:gd name="connsiteY79" fmla="*/ 56995 h 6858000"/>
              <a:gd name="connsiteX80" fmla="*/ 7364096 w 11648080"/>
              <a:gd name="connsiteY80" fmla="*/ 13813 h 6858000"/>
              <a:gd name="connsiteX81" fmla="*/ 7348739 w 11648080"/>
              <a:gd name="connsiteY81" fmla="*/ 0 h 6858000"/>
              <a:gd name="connsiteX82" fmla="*/ 1493836 w 11648080"/>
              <a:gd name="connsiteY82" fmla="*/ 0 h 6858000"/>
              <a:gd name="connsiteX83" fmla="*/ 1493841 w 11648080"/>
              <a:gd name="connsiteY83" fmla="*/ 0 h 6858000"/>
              <a:gd name="connsiteX84" fmla="*/ 1318737 w 11648080"/>
              <a:gd name="connsiteY84" fmla="*/ 70646 h 6858000"/>
              <a:gd name="connsiteX85" fmla="*/ 1036321 w 11648080"/>
              <a:gd name="connsiteY85" fmla="*/ 194312 h 6858000"/>
              <a:gd name="connsiteX86" fmla="*/ 130672 w 11648080"/>
              <a:gd name="connsiteY86" fmla="*/ 671514 h 6858000"/>
              <a:gd name="connsiteX87" fmla="*/ 0 w 11648080"/>
              <a:gd name="connsiteY87" fmla="*/ 747683 h 6858000"/>
              <a:gd name="connsiteX88" fmla="*/ 0 w 11648080"/>
              <a:gd name="connsiteY88" fmla="*/ 747682 h 6858000"/>
              <a:gd name="connsiteX89" fmla="*/ 130672 w 11648080"/>
              <a:gd name="connsiteY89" fmla="*/ 671513 h 6858000"/>
              <a:gd name="connsiteX90" fmla="*/ 1036321 w 11648080"/>
              <a:gd name="connsiteY90" fmla="*/ 194310 h 6858000"/>
              <a:gd name="connsiteX91" fmla="*/ 1318737 w 11648080"/>
              <a:gd name="connsiteY91" fmla="*/ 70644 h 6858000"/>
              <a:gd name="connsiteX92" fmla="*/ 1493836 w 11648080"/>
              <a:gd name="connsiteY92" fmla="*/ 0 h 6858000"/>
              <a:gd name="connsiteX0" fmla="*/ 11648080 w 11648080"/>
              <a:gd name="connsiteY0" fmla="*/ 2146495 h 6858000"/>
              <a:gd name="connsiteX1" fmla="*/ 11629346 w 11648080"/>
              <a:gd name="connsiteY1" fmla="*/ 2112520 h 6858000"/>
              <a:gd name="connsiteX2" fmla="*/ 11648080 w 11648080"/>
              <a:gd name="connsiteY2" fmla="*/ 2146495 h 6858000"/>
              <a:gd name="connsiteX3" fmla="*/ 11494204 w 11648080"/>
              <a:gd name="connsiteY3" fmla="*/ 1905523 h 6858000"/>
              <a:gd name="connsiteX4" fmla="*/ 11523841 w 11648080"/>
              <a:gd name="connsiteY4" fmla="*/ 1945872 h 6858000"/>
              <a:gd name="connsiteX5" fmla="*/ 11550310 w 11648080"/>
              <a:gd name="connsiteY5" fmla="*/ 1987681 h 6858000"/>
              <a:gd name="connsiteX6" fmla="*/ 11494204 w 11648080"/>
              <a:gd name="connsiteY6" fmla="*/ 1905523 h 6858000"/>
              <a:gd name="connsiteX7" fmla="*/ 11326061 w 11648080"/>
              <a:gd name="connsiteY7" fmla="*/ 1692532 h 6858000"/>
              <a:gd name="connsiteX8" fmla="*/ 11406282 w 11648080"/>
              <a:gd name="connsiteY8" fmla="*/ 1785822 h 6858000"/>
              <a:gd name="connsiteX9" fmla="*/ 11420409 w 11648080"/>
              <a:gd name="connsiteY9" fmla="*/ 1805055 h 6858000"/>
              <a:gd name="connsiteX10" fmla="*/ 11326061 w 11648080"/>
              <a:gd name="connsiteY10" fmla="*/ 1692532 h 6858000"/>
              <a:gd name="connsiteX11" fmla="*/ 10829453 w 11648080"/>
              <a:gd name="connsiteY11" fmla="*/ 1199865 h 6858000"/>
              <a:gd name="connsiteX12" fmla="*/ 10830227 w 11648080"/>
              <a:gd name="connsiteY12" fmla="*/ 1200518 h 6858000"/>
              <a:gd name="connsiteX13" fmla="*/ 10836860 w 11648080"/>
              <a:gd name="connsiteY13" fmla="*/ 1206669 h 6858000"/>
              <a:gd name="connsiteX14" fmla="*/ 10829453 w 11648080"/>
              <a:gd name="connsiteY14" fmla="*/ 1199865 h 6858000"/>
              <a:gd name="connsiteX15" fmla="*/ 10586019 w 11648080"/>
              <a:gd name="connsiteY15" fmla="*/ 995058 h 6858000"/>
              <a:gd name="connsiteX16" fmla="*/ 10594661 w 11648080"/>
              <a:gd name="connsiteY16" fmla="*/ 1001698 h 6858000"/>
              <a:gd name="connsiteX17" fmla="*/ 10635916 w 11648080"/>
              <a:gd name="connsiteY17" fmla="*/ 1036517 h 6858000"/>
              <a:gd name="connsiteX18" fmla="*/ 10586019 w 11648080"/>
              <a:gd name="connsiteY18" fmla="*/ 995058 h 6858000"/>
              <a:gd name="connsiteX19" fmla="*/ 10333954 w 11648080"/>
              <a:gd name="connsiteY19" fmla="*/ 802539 h 6858000"/>
              <a:gd name="connsiteX20" fmla="*/ 10350933 w 11648080"/>
              <a:gd name="connsiteY20" fmla="*/ 814415 h 6858000"/>
              <a:gd name="connsiteX21" fmla="*/ 10404349 w 11648080"/>
              <a:gd name="connsiteY21" fmla="*/ 855460 h 6858000"/>
              <a:gd name="connsiteX22" fmla="*/ 10333954 w 11648080"/>
              <a:gd name="connsiteY22" fmla="*/ 802539 h 6858000"/>
              <a:gd name="connsiteX23" fmla="*/ 10073757 w 11648080"/>
              <a:gd name="connsiteY23" fmla="*/ 622182 h 6858000"/>
              <a:gd name="connsiteX24" fmla="*/ 10099498 w 11648080"/>
              <a:gd name="connsiteY24" fmla="*/ 638556 h 6858000"/>
              <a:gd name="connsiteX25" fmla="*/ 10157163 w 11648080"/>
              <a:gd name="connsiteY25" fmla="*/ 678888 h 6858000"/>
              <a:gd name="connsiteX26" fmla="*/ 10073757 w 11648080"/>
              <a:gd name="connsiteY26" fmla="*/ 622182 h 6858000"/>
              <a:gd name="connsiteX27" fmla="*/ 9805942 w 11648080"/>
              <a:gd name="connsiteY27" fmla="*/ 453866 h 6858000"/>
              <a:gd name="connsiteX28" fmla="*/ 9840808 w 11648080"/>
              <a:gd name="connsiteY28" fmla="*/ 474006 h 6858000"/>
              <a:gd name="connsiteX29" fmla="*/ 9898785 w 11648080"/>
              <a:gd name="connsiteY29" fmla="*/ 510885 h 6858000"/>
              <a:gd name="connsiteX30" fmla="*/ 9805942 w 11648080"/>
              <a:gd name="connsiteY30" fmla="*/ 453866 h 6858000"/>
              <a:gd name="connsiteX31" fmla="*/ 5416523 w 11648080"/>
              <a:gd name="connsiteY31" fmla="*/ 392344 h 6858000"/>
              <a:gd name="connsiteX32" fmla="*/ 7023101 w 11648080"/>
              <a:gd name="connsiteY32" fmla="*/ 661672 h 6858000"/>
              <a:gd name="connsiteX33" fmla="*/ 9331960 w 11648080"/>
              <a:gd name="connsiteY33" fmla="*/ 2457451 h 6858000"/>
              <a:gd name="connsiteX34" fmla="*/ 10982484 w 11648080"/>
              <a:gd name="connsiteY34" fmla="*/ 4320382 h 6858000"/>
              <a:gd name="connsiteX35" fmla="*/ 11046723 w 11648080"/>
              <a:gd name="connsiteY35" fmla="*/ 4399855 h 6858000"/>
              <a:gd name="connsiteX36" fmla="*/ 10950686 w 11648080"/>
              <a:gd name="connsiteY36" fmla="*/ 4415959 h 6858000"/>
              <a:gd name="connsiteX37" fmla="*/ 9269729 w 11648080"/>
              <a:gd name="connsiteY37" fmla="*/ 5092699 h 6858000"/>
              <a:gd name="connsiteX38" fmla="*/ 8111807 w 11648080"/>
              <a:gd name="connsiteY38" fmla="*/ 6820535 h 6858000"/>
              <a:gd name="connsiteX39" fmla="*/ 8096827 w 11648080"/>
              <a:gd name="connsiteY39" fmla="*/ 6858000 h 6858000"/>
              <a:gd name="connsiteX40" fmla="*/ 0 w 11648080"/>
              <a:gd name="connsiteY40" fmla="*/ 6858000 h 6858000"/>
              <a:gd name="connsiteX41" fmla="*/ 0 w 11648080"/>
              <a:gd name="connsiteY41" fmla="*/ 1312476 h 6858000"/>
              <a:gd name="connsiteX42" fmla="*/ 393384 w 11648080"/>
              <a:gd name="connsiteY42" fmla="*/ 1170010 h 6858000"/>
              <a:gd name="connsiteX43" fmla="*/ 1790701 w 11648080"/>
              <a:gd name="connsiteY43" fmla="*/ 836932 h 6858000"/>
              <a:gd name="connsiteX44" fmla="*/ 5416523 w 11648080"/>
              <a:gd name="connsiteY44" fmla="*/ 392344 h 6858000"/>
              <a:gd name="connsiteX45" fmla="*/ 7788060 w 11648080"/>
              <a:gd name="connsiteY45" fmla="*/ 373174 h 6858000"/>
              <a:gd name="connsiteX46" fmla="*/ 7951989 w 11648080"/>
              <a:gd name="connsiteY46" fmla="*/ 496695 h 6858000"/>
              <a:gd name="connsiteX47" fmla="*/ 8131809 w 11648080"/>
              <a:gd name="connsiteY47" fmla="*/ 618490 h 6858000"/>
              <a:gd name="connsiteX48" fmla="*/ 10486389 w 11648080"/>
              <a:gd name="connsiteY48" fmla="*/ 1795780 h 6858000"/>
              <a:gd name="connsiteX49" fmla="*/ 10759439 w 11648080"/>
              <a:gd name="connsiteY49" fmla="*/ 1939290 h 6858000"/>
              <a:gd name="connsiteX50" fmla="*/ 11288712 w 11648080"/>
              <a:gd name="connsiteY50" fmla="*/ 2224564 h 6858000"/>
              <a:gd name="connsiteX51" fmla="*/ 11288712 w 11648080"/>
              <a:gd name="connsiteY51" fmla="*/ 2224565 h 6858000"/>
              <a:gd name="connsiteX52" fmla="*/ 10759440 w 11648080"/>
              <a:gd name="connsiteY52" fmla="*/ 1939291 h 6858000"/>
              <a:gd name="connsiteX53" fmla="*/ 10486390 w 11648080"/>
              <a:gd name="connsiteY53" fmla="*/ 1795782 h 6858000"/>
              <a:gd name="connsiteX54" fmla="*/ 8131810 w 11648080"/>
              <a:gd name="connsiteY54" fmla="*/ 619761 h 6858000"/>
              <a:gd name="connsiteX55" fmla="*/ 7927023 w 11648080"/>
              <a:gd name="connsiteY55" fmla="*/ 479920 h 6858000"/>
              <a:gd name="connsiteX56" fmla="*/ 7788060 w 11648080"/>
              <a:gd name="connsiteY56" fmla="*/ 373174 h 6858000"/>
              <a:gd name="connsiteX57" fmla="*/ 7778945 w 11648080"/>
              <a:gd name="connsiteY57" fmla="*/ 366172 h 6858000"/>
              <a:gd name="connsiteX58" fmla="*/ 7788060 w 11648080"/>
              <a:gd name="connsiteY58" fmla="*/ 373174 h 6858000"/>
              <a:gd name="connsiteX59" fmla="*/ 7780464 w 11648080"/>
              <a:gd name="connsiteY59" fmla="*/ 367450 h 6858000"/>
              <a:gd name="connsiteX60" fmla="*/ 7778945 w 11648080"/>
              <a:gd name="connsiteY60" fmla="*/ 366172 h 6858000"/>
              <a:gd name="connsiteX61" fmla="*/ 9531011 w 11648080"/>
              <a:gd name="connsiteY61" fmla="*/ 297464 h 6858000"/>
              <a:gd name="connsiteX62" fmla="*/ 9575319 w 11648080"/>
              <a:gd name="connsiteY62" fmla="*/ 320654 h 6858000"/>
              <a:gd name="connsiteX63" fmla="*/ 9631237 w 11648080"/>
              <a:gd name="connsiteY63" fmla="*/ 352953 h 6858000"/>
              <a:gd name="connsiteX64" fmla="*/ 9531011 w 11648080"/>
              <a:gd name="connsiteY64" fmla="*/ 297464 h 6858000"/>
              <a:gd name="connsiteX65" fmla="*/ 7544713 w 11648080"/>
              <a:gd name="connsiteY65" fmla="*/ 169063 h 6858000"/>
              <a:gd name="connsiteX66" fmla="*/ 7778945 w 11648080"/>
              <a:gd name="connsiteY66" fmla="*/ 366172 h 6858000"/>
              <a:gd name="connsiteX67" fmla="*/ 7732713 w 11648080"/>
              <a:gd name="connsiteY67" fmla="*/ 330658 h 6858000"/>
              <a:gd name="connsiteX68" fmla="*/ 7544713 w 11648080"/>
              <a:gd name="connsiteY68" fmla="*/ 169063 h 6858000"/>
              <a:gd name="connsiteX69" fmla="*/ 9355726 w 11648080"/>
              <a:gd name="connsiteY69" fmla="*/ 205726 h 6858000"/>
              <a:gd name="connsiteX70" fmla="*/ 9303483 w 11648080"/>
              <a:gd name="connsiteY70" fmla="*/ 178384 h 6858000"/>
              <a:gd name="connsiteX71" fmla="*/ 9355726 w 11648080"/>
              <a:gd name="connsiteY71" fmla="*/ 205726 h 6858000"/>
              <a:gd name="connsiteX72" fmla="*/ 7414333 w 11648080"/>
              <a:gd name="connsiteY72" fmla="*/ 56995 h 6858000"/>
              <a:gd name="connsiteX73" fmla="*/ 7544713 w 11648080"/>
              <a:gd name="connsiteY73" fmla="*/ 169063 h 6858000"/>
              <a:gd name="connsiteX74" fmla="*/ 7454642 w 11648080"/>
              <a:gd name="connsiteY74" fmla="*/ 93267 h 6858000"/>
              <a:gd name="connsiteX75" fmla="*/ 7414333 w 11648080"/>
              <a:gd name="connsiteY75" fmla="*/ 56995 h 6858000"/>
              <a:gd name="connsiteX76" fmla="*/ 7348739 w 11648080"/>
              <a:gd name="connsiteY76" fmla="*/ 0 h 6858000"/>
              <a:gd name="connsiteX77" fmla="*/ 7350996 w 11648080"/>
              <a:gd name="connsiteY77" fmla="*/ 0 h 6858000"/>
              <a:gd name="connsiteX78" fmla="*/ 7414333 w 11648080"/>
              <a:gd name="connsiteY78" fmla="*/ 56995 h 6858000"/>
              <a:gd name="connsiteX79" fmla="*/ 7364096 w 11648080"/>
              <a:gd name="connsiteY79" fmla="*/ 13813 h 6858000"/>
              <a:gd name="connsiteX80" fmla="*/ 7348739 w 11648080"/>
              <a:gd name="connsiteY80" fmla="*/ 0 h 6858000"/>
              <a:gd name="connsiteX81" fmla="*/ 1493836 w 11648080"/>
              <a:gd name="connsiteY81" fmla="*/ 0 h 6858000"/>
              <a:gd name="connsiteX82" fmla="*/ 1493841 w 11648080"/>
              <a:gd name="connsiteY82" fmla="*/ 0 h 6858000"/>
              <a:gd name="connsiteX83" fmla="*/ 1318737 w 11648080"/>
              <a:gd name="connsiteY83" fmla="*/ 70646 h 6858000"/>
              <a:gd name="connsiteX84" fmla="*/ 1036321 w 11648080"/>
              <a:gd name="connsiteY84" fmla="*/ 194312 h 6858000"/>
              <a:gd name="connsiteX85" fmla="*/ 130672 w 11648080"/>
              <a:gd name="connsiteY85" fmla="*/ 671514 h 6858000"/>
              <a:gd name="connsiteX86" fmla="*/ 0 w 11648080"/>
              <a:gd name="connsiteY86" fmla="*/ 747683 h 6858000"/>
              <a:gd name="connsiteX87" fmla="*/ 0 w 11648080"/>
              <a:gd name="connsiteY87" fmla="*/ 747682 h 6858000"/>
              <a:gd name="connsiteX88" fmla="*/ 130672 w 11648080"/>
              <a:gd name="connsiteY88" fmla="*/ 671513 h 6858000"/>
              <a:gd name="connsiteX89" fmla="*/ 1036321 w 11648080"/>
              <a:gd name="connsiteY89" fmla="*/ 194310 h 6858000"/>
              <a:gd name="connsiteX90" fmla="*/ 1318737 w 11648080"/>
              <a:gd name="connsiteY90" fmla="*/ 70644 h 6858000"/>
              <a:gd name="connsiteX91" fmla="*/ 1493836 w 11648080"/>
              <a:gd name="connsiteY91" fmla="*/ 0 h 6858000"/>
              <a:gd name="connsiteX0" fmla="*/ 11648080 w 11648080"/>
              <a:gd name="connsiteY0" fmla="*/ 2146495 h 6858000"/>
              <a:gd name="connsiteX1" fmla="*/ 11629346 w 11648080"/>
              <a:gd name="connsiteY1" fmla="*/ 2112520 h 6858000"/>
              <a:gd name="connsiteX2" fmla="*/ 11648080 w 11648080"/>
              <a:gd name="connsiteY2" fmla="*/ 2146495 h 6858000"/>
              <a:gd name="connsiteX3" fmla="*/ 11494204 w 11648080"/>
              <a:gd name="connsiteY3" fmla="*/ 1905523 h 6858000"/>
              <a:gd name="connsiteX4" fmla="*/ 11523841 w 11648080"/>
              <a:gd name="connsiteY4" fmla="*/ 1945872 h 6858000"/>
              <a:gd name="connsiteX5" fmla="*/ 11550310 w 11648080"/>
              <a:gd name="connsiteY5" fmla="*/ 1987681 h 6858000"/>
              <a:gd name="connsiteX6" fmla="*/ 11494204 w 11648080"/>
              <a:gd name="connsiteY6" fmla="*/ 1905523 h 6858000"/>
              <a:gd name="connsiteX7" fmla="*/ 11326061 w 11648080"/>
              <a:gd name="connsiteY7" fmla="*/ 1692532 h 6858000"/>
              <a:gd name="connsiteX8" fmla="*/ 11406282 w 11648080"/>
              <a:gd name="connsiteY8" fmla="*/ 1785822 h 6858000"/>
              <a:gd name="connsiteX9" fmla="*/ 11420409 w 11648080"/>
              <a:gd name="connsiteY9" fmla="*/ 1805055 h 6858000"/>
              <a:gd name="connsiteX10" fmla="*/ 11326061 w 11648080"/>
              <a:gd name="connsiteY10" fmla="*/ 1692532 h 6858000"/>
              <a:gd name="connsiteX11" fmla="*/ 10829453 w 11648080"/>
              <a:gd name="connsiteY11" fmla="*/ 1199865 h 6858000"/>
              <a:gd name="connsiteX12" fmla="*/ 10830227 w 11648080"/>
              <a:gd name="connsiteY12" fmla="*/ 1200518 h 6858000"/>
              <a:gd name="connsiteX13" fmla="*/ 10836860 w 11648080"/>
              <a:gd name="connsiteY13" fmla="*/ 1206669 h 6858000"/>
              <a:gd name="connsiteX14" fmla="*/ 10829453 w 11648080"/>
              <a:gd name="connsiteY14" fmla="*/ 1199865 h 6858000"/>
              <a:gd name="connsiteX15" fmla="*/ 10586019 w 11648080"/>
              <a:gd name="connsiteY15" fmla="*/ 995058 h 6858000"/>
              <a:gd name="connsiteX16" fmla="*/ 10594661 w 11648080"/>
              <a:gd name="connsiteY16" fmla="*/ 1001698 h 6858000"/>
              <a:gd name="connsiteX17" fmla="*/ 10635916 w 11648080"/>
              <a:gd name="connsiteY17" fmla="*/ 1036517 h 6858000"/>
              <a:gd name="connsiteX18" fmla="*/ 10586019 w 11648080"/>
              <a:gd name="connsiteY18" fmla="*/ 995058 h 6858000"/>
              <a:gd name="connsiteX19" fmla="*/ 10333954 w 11648080"/>
              <a:gd name="connsiteY19" fmla="*/ 802539 h 6858000"/>
              <a:gd name="connsiteX20" fmla="*/ 10350933 w 11648080"/>
              <a:gd name="connsiteY20" fmla="*/ 814415 h 6858000"/>
              <a:gd name="connsiteX21" fmla="*/ 10404349 w 11648080"/>
              <a:gd name="connsiteY21" fmla="*/ 855460 h 6858000"/>
              <a:gd name="connsiteX22" fmla="*/ 10333954 w 11648080"/>
              <a:gd name="connsiteY22" fmla="*/ 802539 h 6858000"/>
              <a:gd name="connsiteX23" fmla="*/ 10073757 w 11648080"/>
              <a:gd name="connsiteY23" fmla="*/ 622182 h 6858000"/>
              <a:gd name="connsiteX24" fmla="*/ 10099498 w 11648080"/>
              <a:gd name="connsiteY24" fmla="*/ 638556 h 6858000"/>
              <a:gd name="connsiteX25" fmla="*/ 10157163 w 11648080"/>
              <a:gd name="connsiteY25" fmla="*/ 678888 h 6858000"/>
              <a:gd name="connsiteX26" fmla="*/ 10073757 w 11648080"/>
              <a:gd name="connsiteY26" fmla="*/ 622182 h 6858000"/>
              <a:gd name="connsiteX27" fmla="*/ 9805942 w 11648080"/>
              <a:gd name="connsiteY27" fmla="*/ 453866 h 6858000"/>
              <a:gd name="connsiteX28" fmla="*/ 9840808 w 11648080"/>
              <a:gd name="connsiteY28" fmla="*/ 474006 h 6858000"/>
              <a:gd name="connsiteX29" fmla="*/ 9898785 w 11648080"/>
              <a:gd name="connsiteY29" fmla="*/ 510885 h 6858000"/>
              <a:gd name="connsiteX30" fmla="*/ 9805942 w 11648080"/>
              <a:gd name="connsiteY30" fmla="*/ 453866 h 6858000"/>
              <a:gd name="connsiteX31" fmla="*/ 5416523 w 11648080"/>
              <a:gd name="connsiteY31" fmla="*/ 392344 h 6858000"/>
              <a:gd name="connsiteX32" fmla="*/ 7023101 w 11648080"/>
              <a:gd name="connsiteY32" fmla="*/ 661672 h 6858000"/>
              <a:gd name="connsiteX33" fmla="*/ 9331960 w 11648080"/>
              <a:gd name="connsiteY33" fmla="*/ 2457451 h 6858000"/>
              <a:gd name="connsiteX34" fmla="*/ 10982484 w 11648080"/>
              <a:gd name="connsiteY34" fmla="*/ 4320382 h 6858000"/>
              <a:gd name="connsiteX35" fmla="*/ 11046723 w 11648080"/>
              <a:gd name="connsiteY35" fmla="*/ 4399855 h 6858000"/>
              <a:gd name="connsiteX36" fmla="*/ 10950686 w 11648080"/>
              <a:gd name="connsiteY36" fmla="*/ 4415959 h 6858000"/>
              <a:gd name="connsiteX37" fmla="*/ 9269729 w 11648080"/>
              <a:gd name="connsiteY37" fmla="*/ 5092699 h 6858000"/>
              <a:gd name="connsiteX38" fmla="*/ 8111807 w 11648080"/>
              <a:gd name="connsiteY38" fmla="*/ 6820535 h 6858000"/>
              <a:gd name="connsiteX39" fmla="*/ 8096827 w 11648080"/>
              <a:gd name="connsiteY39" fmla="*/ 6858000 h 6858000"/>
              <a:gd name="connsiteX40" fmla="*/ 0 w 11648080"/>
              <a:gd name="connsiteY40" fmla="*/ 6858000 h 6858000"/>
              <a:gd name="connsiteX41" fmla="*/ 0 w 11648080"/>
              <a:gd name="connsiteY41" fmla="*/ 1312476 h 6858000"/>
              <a:gd name="connsiteX42" fmla="*/ 393384 w 11648080"/>
              <a:gd name="connsiteY42" fmla="*/ 1170010 h 6858000"/>
              <a:gd name="connsiteX43" fmla="*/ 1790701 w 11648080"/>
              <a:gd name="connsiteY43" fmla="*/ 836932 h 6858000"/>
              <a:gd name="connsiteX44" fmla="*/ 5416523 w 11648080"/>
              <a:gd name="connsiteY44" fmla="*/ 392344 h 6858000"/>
              <a:gd name="connsiteX45" fmla="*/ 7788060 w 11648080"/>
              <a:gd name="connsiteY45" fmla="*/ 373174 h 6858000"/>
              <a:gd name="connsiteX46" fmla="*/ 7951989 w 11648080"/>
              <a:gd name="connsiteY46" fmla="*/ 496695 h 6858000"/>
              <a:gd name="connsiteX47" fmla="*/ 8131809 w 11648080"/>
              <a:gd name="connsiteY47" fmla="*/ 618490 h 6858000"/>
              <a:gd name="connsiteX48" fmla="*/ 10486389 w 11648080"/>
              <a:gd name="connsiteY48" fmla="*/ 1795780 h 6858000"/>
              <a:gd name="connsiteX49" fmla="*/ 10759439 w 11648080"/>
              <a:gd name="connsiteY49" fmla="*/ 1939290 h 6858000"/>
              <a:gd name="connsiteX50" fmla="*/ 11288712 w 11648080"/>
              <a:gd name="connsiteY50" fmla="*/ 2224564 h 6858000"/>
              <a:gd name="connsiteX51" fmla="*/ 11288712 w 11648080"/>
              <a:gd name="connsiteY51" fmla="*/ 2224565 h 6858000"/>
              <a:gd name="connsiteX52" fmla="*/ 10759440 w 11648080"/>
              <a:gd name="connsiteY52" fmla="*/ 1939291 h 6858000"/>
              <a:gd name="connsiteX53" fmla="*/ 10486390 w 11648080"/>
              <a:gd name="connsiteY53" fmla="*/ 1795782 h 6858000"/>
              <a:gd name="connsiteX54" fmla="*/ 8131810 w 11648080"/>
              <a:gd name="connsiteY54" fmla="*/ 619761 h 6858000"/>
              <a:gd name="connsiteX55" fmla="*/ 7927023 w 11648080"/>
              <a:gd name="connsiteY55" fmla="*/ 479920 h 6858000"/>
              <a:gd name="connsiteX56" fmla="*/ 7788060 w 11648080"/>
              <a:gd name="connsiteY56" fmla="*/ 373174 h 6858000"/>
              <a:gd name="connsiteX57" fmla="*/ 7778945 w 11648080"/>
              <a:gd name="connsiteY57" fmla="*/ 366172 h 6858000"/>
              <a:gd name="connsiteX58" fmla="*/ 7788060 w 11648080"/>
              <a:gd name="connsiteY58" fmla="*/ 373174 h 6858000"/>
              <a:gd name="connsiteX59" fmla="*/ 7780464 w 11648080"/>
              <a:gd name="connsiteY59" fmla="*/ 367450 h 6858000"/>
              <a:gd name="connsiteX60" fmla="*/ 7778945 w 11648080"/>
              <a:gd name="connsiteY60" fmla="*/ 366172 h 6858000"/>
              <a:gd name="connsiteX61" fmla="*/ 9531011 w 11648080"/>
              <a:gd name="connsiteY61" fmla="*/ 297464 h 6858000"/>
              <a:gd name="connsiteX62" fmla="*/ 9575319 w 11648080"/>
              <a:gd name="connsiteY62" fmla="*/ 320654 h 6858000"/>
              <a:gd name="connsiteX63" fmla="*/ 9631237 w 11648080"/>
              <a:gd name="connsiteY63" fmla="*/ 352953 h 6858000"/>
              <a:gd name="connsiteX64" fmla="*/ 9531011 w 11648080"/>
              <a:gd name="connsiteY64" fmla="*/ 297464 h 6858000"/>
              <a:gd name="connsiteX65" fmla="*/ 7544713 w 11648080"/>
              <a:gd name="connsiteY65" fmla="*/ 169063 h 6858000"/>
              <a:gd name="connsiteX66" fmla="*/ 7778945 w 11648080"/>
              <a:gd name="connsiteY66" fmla="*/ 366172 h 6858000"/>
              <a:gd name="connsiteX67" fmla="*/ 7732713 w 11648080"/>
              <a:gd name="connsiteY67" fmla="*/ 330658 h 6858000"/>
              <a:gd name="connsiteX68" fmla="*/ 7544713 w 11648080"/>
              <a:gd name="connsiteY68" fmla="*/ 169063 h 6858000"/>
              <a:gd name="connsiteX69" fmla="*/ 7414333 w 11648080"/>
              <a:gd name="connsiteY69" fmla="*/ 56995 h 6858000"/>
              <a:gd name="connsiteX70" fmla="*/ 7544713 w 11648080"/>
              <a:gd name="connsiteY70" fmla="*/ 169063 h 6858000"/>
              <a:gd name="connsiteX71" fmla="*/ 7454642 w 11648080"/>
              <a:gd name="connsiteY71" fmla="*/ 93267 h 6858000"/>
              <a:gd name="connsiteX72" fmla="*/ 7414333 w 11648080"/>
              <a:gd name="connsiteY72" fmla="*/ 56995 h 6858000"/>
              <a:gd name="connsiteX73" fmla="*/ 7348739 w 11648080"/>
              <a:gd name="connsiteY73" fmla="*/ 0 h 6858000"/>
              <a:gd name="connsiteX74" fmla="*/ 7350996 w 11648080"/>
              <a:gd name="connsiteY74" fmla="*/ 0 h 6858000"/>
              <a:gd name="connsiteX75" fmla="*/ 7414333 w 11648080"/>
              <a:gd name="connsiteY75" fmla="*/ 56995 h 6858000"/>
              <a:gd name="connsiteX76" fmla="*/ 7364096 w 11648080"/>
              <a:gd name="connsiteY76" fmla="*/ 13813 h 6858000"/>
              <a:gd name="connsiteX77" fmla="*/ 7348739 w 11648080"/>
              <a:gd name="connsiteY77" fmla="*/ 0 h 6858000"/>
              <a:gd name="connsiteX78" fmla="*/ 1493836 w 11648080"/>
              <a:gd name="connsiteY78" fmla="*/ 0 h 6858000"/>
              <a:gd name="connsiteX79" fmla="*/ 1493841 w 11648080"/>
              <a:gd name="connsiteY79" fmla="*/ 0 h 6858000"/>
              <a:gd name="connsiteX80" fmla="*/ 1318737 w 11648080"/>
              <a:gd name="connsiteY80" fmla="*/ 70646 h 6858000"/>
              <a:gd name="connsiteX81" fmla="*/ 1036321 w 11648080"/>
              <a:gd name="connsiteY81" fmla="*/ 194312 h 6858000"/>
              <a:gd name="connsiteX82" fmla="*/ 130672 w 11648080"/>
              <a:gd name="connsiteY82" fmla="*/ 671514 h 6858000"/>
              <a:gd name="connsiteX83" fmla="*/ 0 w 11648080"/>
              <a:gd name="connsiteY83" fmla="*/ 747683 h 6858000"/>
              <a:gd name="connsiteX84" fmla="*/ 0 w 11648080"/>
              <a:gd name="connsiteY84" fmla="*/ 747682 h 6858000"/>
              <a:gd name="connsiteX85" fmla="*/ 130672 w 11648080"/>
              <a:gd name="connsiteY85" fmla="*/ 671513 h 6858000"/>
              <a:gd name="connsiteX86" fmla="*/ 1036321 w 11648080"/>
              <a:gd name="connsiteY86" fmla="*/ 194310 h 6858000"/>
              <a:gd name="connsiteX87" fmla="*/ 1318737 w 11648080"/>
              <a:gd name="connsiteY87" fmla="*/ 70644 h 6858000"/>
              <a:gd name="connsiteX88" fmla="*/ 1493836 w 11648080"/>
              <a:gd name="connsiteY88" fmla="*/ 0 h 6858000"/>
              <a:gd name="connsiteX0" fmla="*/ 11648080 w 11648080"/>
              <a:gd name="connsiteY0" fmla="*/ 2146495 h 6858000"/>
              <a:gd name="connsiteX1" fmla="*/ 11629346 w 11648080"/>
              <a:gd name="connsiteY1" fmla="*/ 2112520 h 6858000"/>
              <a:gd name="connsiteX2" fmla="*/ 11648080 w 11648080"/>
              <a:gd name="connsiteY2" fmla="*/ 2146495 h 6858000"/>
              <a:gd name="connsiteX3" fmla="*/ 11494204 w 11648080"/>
              <a:gd name="connsiteY3" fmla="*/ 1905523 h 6858000"/>
              <a:gd name="connsiteX4" fmla="*/ 11523841 w 11648080"/>
              <a:gd name="connsiteY4" fmla="*/ 1945872 h 6858000"/>
              <a:gd name="connsiteX5" fmla="*/ 11550310 w 11648080"/>
              <a:gd name="connsiteY5" fmla="*/ 1987681 h 6858000"/>
              <a:gd name="connsiteX6" fmla="*/ 11494204 w 11648080"/>
              <a:gd name="connsiteY6" fmla="*/ 1905523 h 6858000"/>
              <a:gd name="connsiteX7" fmla="*/ 11326061 w 11648080"/>
              <a:gd name="connsiteY7" fmla="*/ 1692532 h 6858000"/>
              <a:gd name="connsiteX8" fmla="*/ 11406282 w 11648080"/>
              <a:gd name="connsiteY8" fmla="*/ 1785822 h 6858000"/>
              <a:gd name="connsiteX9" fmla="*/ 11420409 w 11648080"/>
              <a:gd name="connsiteY9" fmla="*/ 1805055 h 6858000"/>
              <a:gd name="connsiteX10" fmla="*/ 11326061 w 11648080"/>
              <a:gd name="connsiteY10" fmla="*/ 1692532 h 6858000"/>
              <a:gd name="connsiteX11" fmla="*/ 10829453 w 11648080"/>
              <a:gd name="connsiteY11" fmla="*/ 1199865 h 6858000"/>
              <a:gd name="connsiteX12" fmla="*/ 10830227 w 11648080"/>
              <a:gd name="connsiteY12" fmla="*/ 1200518 h 6858000"/>
              <a:gd name="connsiteX13" fmla="*/ 10836860 w 11648080"/>
              <a:gd name="connsiteY13" fmla="*/ 1206669 h 6858000"/>
              <a:gd name="connsiteX14" fmla="*/ 10829453 w 11648080"/>
              <a:gd name="connsiteY14" fmla="*/ 1199865 h 6858000"/>
              <a:gd name="connsiteX15" fmla="*/ 10586019 w 11648080"/>
              <a:gd name="connsiteY15" fmla="*/ 995058 h 6858000"/>
              <a:gd name="connsiteX16" fmla="*/ 10594661 w 11648080"/>
              <a:gd name="connsiteY16" fmla="*/ 1001698 h 6858000"/>
              <a:gd name="connsiteX17" fmla="*/ 10635916 w 11648080"/>
              <a:gd name="connsiteY17" fmla="*/ 1036517 h 6858000"/>
              <a:gd name="connsiteX18" fmla="*/ 10586019 w 11648080"/>
              <a:gd name="connsiteY18" fmla="*/ 995058 h 6858000"/>
              <a:gd name="connsiteX19" fmla="*/ 10333954 w 11648080"/>
              <a:gd name="connsiteY19" fmla="*/ 802539 h 6858000"/>
              <a:gd name="connsiteX20" fmla="*/ 10350933 w 11648080"/>
              <a:gd name="connsiteY20" fmla="*/ 814415 h 6858000"/>
              <a:gd name="connsiteX21" fmla="*/ 10404349 w 11648080"/>
              <a:gd name="connsiteY21" fmla="*/ 855460 h 6858000"/>
              <a:gd name="connsiteX22" fmla="*/ 10333954 w 11648080"/>
              <a:gd name="connsiteY22" fmla="*/ 802539 h 6858000"/>
              <a:gd name="connsiteX23" fmla="*/ 10073757 w 11648080"/>
              <a:gd name="connsiteY23" fmla="*/ 622182 h 6858000"/>
              <a:gd name="connsiteX24" fmla="*/ 10099498 w 11648080"/>
              <a:gd name="connsiteY24" fmla="*/ 638556 h 6858000"/>
              <a:gd name="connsiteX25" fmla="*/ 10157163 w 11648080"/>
              <a:gd name="connsiteY25" fmla="*/ 678888 h 6858000"/>
              <a:gd name="connsiteX26" fmla="*/ 10073757 w 11648080"/>
              <a:gd name="connsiteY26" fmla="*/ 622182 h 6858000"/>
              <a:gd name="connsiteX27" fmla="*/ 9805942 w 11648080"/>
              <a:gd name="connsiteY27" fmla="*/ 453866 h 6858000"/>
              <a:gd name="connsiteX28" fmla="*/ 9840808 w 11648080"/>
              <a:gd name="connsiteY28" fmla="*/ 474006 h 6858000"/>
              <a:gd name="connsiteX29" fmla="*/ 9898785 w 11648080"/>
              <a:gd name="connsiteY29" fmla="*/ 510885 h 6858000"/>
              <a:gd name="connsiteX30" fmla="*/ 9805942 w 11648080"/>
              <a:gd name="connsiteY30" fmla="*/ 453866 h 6858000"/>
              <a:gd name="connsiteX31" fmla="*/ 5416523 w 11648080"/>
              <a:gd name="connsiteY31" fmla="*/ 392344 h 6858000"/>
              <a:gd name="connsiteX32" fmla="*/ 7023101 w 11648080"/>
              <a:gd name="connsiteY32" fmla="*/ 661672 h 6858000"/>
              <a:gd name="connsiteX33" fmla="*/ 9331960 w 11648080"/>
              <a:gd name="connsiteY33" fmla="*/ 2457451 h 6858000"/>
              <a:gd name="connsiteX34" fmla="*/ 10982484 w 11648080"/>
              <a:gd name="connsiteY34" fmla="*/ 4320382 h 6858000"/>
              <a:gd name="connsiteX35" fmla="*/ 11046723 w 11648080"/>
              <a:gd name="connsiteY35" fmla="*/ 4399855 h 6858000"/>
              <a:gd name="connsiteX36" fmla="*/ 10950686 w 11648080"/>
              <a:gd name="connsiteY36" fmla="*/ 4415959 h 6858000"/>
              <a:gd name="connsiteX37" fmla="*/ 9269729 w 11648080"/>
              <a:gd name="connsiteY37" fmla="*/ 5092699 h 6858000"/>
              <a:gd name="connsiteX38" fmla="*/ 8111807 w 11648080"/>
              <a:gd name="connsiteY38" fmla="*/ 6820535 h 6858000"/>
              <a:gd name="connsiteX39" fmla="*/ 8096827 w 11648080"/>
              <a:gd name="connsiteY39" fmla="*/ 6858000 h 6858000"/>
              <a:gd name="connsiteX40" fmla="*/ 0 w 11648080"/>
              <a:gd name="connsiteY40" fmla="*/ 6858000 h 6858000"/>
              <a:gd name="connsiteX41" fmla="*/ 0 w 11648080"/>
              <a:gd name="connsiteY41" fmla="*/ 1312476 h 6858000"/>
              <a:gd name="connsiteX42" fmla="*/ 393384 w 11648080"/>
              <a:gd name="connsiteY42" fmla="*/ 1170010 h 6858000"/>
              <a:gd name="connsiteX43" fmla="*/ 1790701 w 11648080"/>
              <a:gd name="connsiteY43" fmla="*/ 836932 h 6858000"/>
              <a:gd name="connsiteX44" fmla="*/ 5416523 w 11648080"/>
              <a:gd name="connsiteY44" fmla="*/ 392344 h 6858000"/>
              <a:gd name="connsiteX45" fmla="*/ 7788060 w 11648080"/>
              <a:gd name="connsiteY45" fmla="*/ 373174 h 6858000"/>
              <a:gd name="connsiteX46" fmla="*/ 7951989 w 11648080"/>
              <a:gd name="connsiteY46" fmla="*/ 496695 h 6858000"/>
              <a:gd name="connsiteX47" fmla="*/ 8131809 w 11648080"/>
              <a:gd name="connsiteY47" fmla="*/ 618490 h 6858000"/>
              <a:gd name="connsiteX48" fmla="*/ 10486389 w 11648080"/>
              <a:gd name="connsiteY48" fmla="*/ 1795780 h 6858000"/>
              <a:gd name="connsiteX49" fmla="*/ 10759439 w 11648080"/>
              <a:gd name="connsiteY49" fmla="*/ 1939290 h 6858000"/>
              <a:gd name="connsiteX50" fmla="*/ 11288712 w 11648080"/>
              <a:gd name="connsiteY50" fmla="*/ 2224564 h 6858000"/>
              <a:gd name="connsiteX51" fmla="*/ 11288712 w 11648080"/>
              <a:gd name="connsiteY51" fmla="*/ 2224565 h 6858000"/>
              <a:gd name="connsiteX52" fmla="*/ 10759440 w 11648080"/>
              <a:gd name="connsiteY52" fmla="*/ 1939291 h 6858000"/>
              <a:gd name="connsiteX53" fmla="*/ 10486390 w 11648080"/>
              <a:gd name="connsiteY53" fmla="*/ 1795782 h 6858000"/>
              <a:gd name="connsiteX54" fmla="*/ 8131810 w 11648080"/>
              <a:gd name="connsiteY54" fmla="*/ 619761 h 6858000"/>
              <a:gd name="connsiteX55" fmla="*/ 7927023 w 11648080"/>
              <a:gd name="connsiteY55" fmla="*/ 479920 h 6858000"/>
              <a:gd name="connsiteX56" fmla="*/ 7788060 w 11648080"/>
              <a:gd name="connsiteY56" fmla="*/ 373174 h 6858000"/>
              <a:gd name="connsiteX57" fmla="*/ 7778945 w 11648080"/>
              <a:gd name="connsiteY57" fmla="*/ 366172 h 6858000"/>
              <a:gd name="connsiteX58" fmla="*/ 7788060 w 11648080"/>
              <a:gd name="connsiteY58" fmla="*/ 373174 h 6858000"/>
              <a:gd name="connsiteX59" fmla="*/ 7780464 w 11648080"/>
              <a:gd name="connsiteY59" fmla="*/ 367450 h 6858000"/>
              <a:gd name="connsiteX60" fmla="*/ 7778945 w 11648080"/>
              <a:gd name="connsiteY60" fmla="*/ 366172 h 6858000"/>
              <a:gd name="connsiteX61" fmla="*/ 9631237 w 11648080"/>
              <a:gd name="connsiteY61" fmla="*/ 352953 h 6858000"/>
              <a:gd name="connsiteX62" fmla="*/ 9575319 w 11648080"/>
              <a:gd name="connsiteY62" fmla="*/ 320654 h 6858000"/>
              <a:gd name="connsiteX63" fmla="*/ 9631237 w 11648080"/>
              <a:gd name="connsiteY63" fmla="*/ 352953 h 6858000"/>
              <a:gd name="connsiteX64" fmla="*/ 7544713 w 11648080"/>
              <a:gd name="connsiteY64" fmla="*/ 169063 h 6858000"/>
              <a:gd name="connsiteX65" fmla="*/ 7778945 w 11648080"/>
              <a:gd name="connsiteY65" fmla="*/ 366172 h 6858000"/>
              <a:gd name="connsiteX66" fmla="*/ 7732713 w 11648080"/>
              <a:gd name="connsiteY66" fmla="*/ 330658 h 6858000"/>
              <a:gd name="connsiteX67" fmla="*/ 7544713 w 11648080"/>
              <a:gd name="connsiteY67" fmla="*/ 169063 h 6858000"/>
              <a:gd name="connsiteX68" fmla="*/ 7414333 w 11648080"/>
              <a:gd name="connsiteY68" fmla="*/ 56995 h 6858000"/>
              <a:gd name="connsiteX69" fmla="*/ 7544713 w 11648080"/>
              <a:gd name="connsiteY69" fmla="*/ 169063 h 6858000"/>
              <a:gd name="connsiteX70" fmla="*/ 7454642 w 11648080"/>
              <a:gd name="connsiteY70" fmla="*/ 93267 h 6858000"/>
              <a:gd name="connsiteX71" fmla="*/ 7414333 w 11648080"/>
              <a:gd name="connsiteY71" fmla="*/ 56995 h 6858000"/>
              <a:gd name="connsiteX72" fmla="*/ 7348739 w 11648080"/>
              <a:gd name="connsiteY72" fmla="*/ 0 h 6858000"/>
              <a:gd name="connsiteX73" fmla="*/ 7350996 w 11648080"/>
              <a:gd name="connsiteY73" fmla="*/ 0 h 6858000"/>
              <a:gd name="connsiteX74" fmla="*/ 7414333 w 11648080"/>
              <a:gd name="connsiteY74" fmla="*/ 56995 h 6858000"/>
              <a:gd name="connsiteX75" fmla="*/ 7364096 w 11648080"/>
              <a:gd name="connsiteY75" fmla="*/ 13813 h 6858000"/>
              <a:gd name="connsiteX76" fmla="*/ 7348739 w 11648080"/>
              <a:gd name="connsiteY76" fmla="*/ 0 h 6858000"/>
              <a:gd name="connsiteX77" fmla="*/ 1493836 w 11648080"/>
              <a:gd name="connsiteY77" fmla="*/ 0 h 6858000"/>
              <a:gd name="connsiteX78" fmla="*/ 1493841 w 11648080"/>
              <a:gd name="connsiteY78" fmla="*/ 0 h 6858000"/>
              <a:gd name="connsiteX79" fmla="*/ 1318737 w 11648080"/>
              <a:gd name="connsiteY79" fmla="*/ 70646 h 6858000"/>
              <a:gd name="connsiteX80" fmla="*/ 1036321 w 11648080"/>
              <a:gd name="connsiteY80" fmla="*/ 194312 h 6858000"/>
              <a:gd name="connsiteX81" fmla="*/ 130672 w 11648080"/>
              <a:gd name="connsiteY81" fmla="*/ 671514 h 6858000"/>
              <a:gd name="connsiteX82" fmla="*/ 0 w 11648080"/>
              <a:gd name="connsiteY82" fmla="*/ 747683 h 6858000"/>
              <a:gd name="connsiteX83" fmla="*/ 0 w 11648080"/>
              <a:gd name="connsiteY83" fmla="*/ 747682 h 6858000"/>
              <a:gd name="connsiteX84" fmla="*/ 130672 w 11648080"/>
              <a:gd name="connsiteY84" fmla="*/ 671513 h 6858000"/>
              <a:gd name="connsiteX85" fmla="*/ 1036321 w 11648080"/>
              <a:gd name="connsiteY85" fmla="*/ 194310 h 6858000"/>
              <a:gd name="connsiteX86" fmla="*/ 1318737 w 11648080"/>
              <a:gd name="connsiteY86" fmla="*/ 70644 h 6858000"/>
              <a:gd name="connsiteX87" fmla="*/ 1493836 w 11648080"/>
              <a:gd name="connsiteY87" fmla="*/ 0 h 6858000"/>
              <a:gd name="connsiteX0" fmla="*/ 11648080 w 11648080"/>
              <a:gd name="connsiteY0" fmla="*/ 2146495 h 6858000"/>
              <a:gd name="connsiteX1" fmla="*/ 11629346 w 11648080"/>
              <a:gd name="connsiteY1" fmla="*/ 2112520 h 6858000"/>
              <a:gd name="connsiteX2" fmla="*/ 11648080 w 11648080"/>
              <a:gd name="connsiteY2" fmla="*/ 2146495 h 6858000"/>
              <a:gd name="connsiteX3" fmla="*/ 11494204 w 11648080"/>
              <a:gd name="connsiteY3" fmla="*/ 1905523 h 6858000"/>
              <a:gd name="connsiteX4" fmla="*/ 11523841 w 11648080"/>
              <a:gd name="connsiteY4" fmla="*/ 1945872 h 6858000"/>
              <a:gd name="connsiteX5" fmla="*/ 11550310 w 11648080"/>
              <a:gd name="connsiteY5" fmla="*/ 1987681 h 6858000"/>
              <a:gd name="connsiteX6" fmla="*/ 11494204 w 11648080"/>
              <a:gd name="connsiteY6" fmla="*/ 1905523 h 6858000"/>
              <a:gd name="connsiteX7" fmla="*/ 11326061 w 11648080"/>
              <a:gd name="connsiteY7" fmla="*/ 1692532 h 6858000"/>
              <a:gd name="connsiteX8" fmla="*/ 11406282 w 11648080"/>
              <a:gd name="connsiteY8" fmla="*/ 1785822 h 6858000"/>
              <a:gd name="connsiteX9" fmla="*/ 11420409 w 11648080"/>
              <a:gd name="connsiteY9" fmla="*/ 1805055 h 6858000"/>
              <a:gd name="connsiteX10" fmla="*/ 11326061 w 11648080"/>
              <a:gd name="connsiteY10" fmla="*/ 1692532 h 6858000"/>
              <a:gd name="connsiteX11" fmla="*/ 10829453 w 11648080"/>
              <a:gd name="connsiteY11" fmla="*/ 1199865 h 6858000"/>
              <a:gd name="connsiteX12" fmla="*/ 10830227 w 11648080"/>
              <a:gd name="connsiteY12" fmla="*/ 1200518 h 6858000"/>
              <a:gd name="connsiteX13" fmla="*/ 10836860 w 11648080"/>
              <a:gd name="connsiteY13" fmla="*/ 1206669 h 6858000"/>
              <a:gd name="connsiteX14" fmla="*/ 10829453 w 11648080"/>
              <a:gd name="connsiteY14" fmla="*/ 1199865 h 6858000"/>
              <a:gd name="connsiteX15" fmla="*/ 10586019 w 11648080"/>
              <a:gd name="connsiteY15" fmla="*/ 995058 h 6858000"/>
              <a:gd name="connsiteX16" fmla="*/ 10594661 w 11648080"/>
              <a:gd name="connsiteY16" fmla="*/ 1001698 h 6858000"/>
              <a:gd name="connsiteX17" fmla="*/ 10635916 w 11648080"/>
              <a:gd name="connsiteY17" fmla="*/ 1036517 h 6858000"/>
              <a:gd name="connsiteX18" fmla="*/ 10586019 w 11648080"/>
              <a:gd name="connsiteY18" fmla="*/ 995058 h 6858000"/>
              <a:gd name="connsiteX19" fmla="*/ 10333954 w 11648080"/>
              <a:gd name="connsiteY19" fmla="*/ 802539 h 6858000"/>
              <a:gd name="connsiteX20" fmla="*/ 10350933 w 11648080"/>
              <a:gd name="connsiteY20" fmla="*/ 814415 h 6858000"/>
              <a:gd name="connsiteX21" fmla="*/ 10404349 w 11648080"/>
              <a:gd name="connsiteY21" fmla="*/ 855460 h 6858000"/>
              <a:gd name="connsiteX22" fmla="*/ 10333954 w 11648080"/>
              <a:gd name="connsiteY22" fmla="*/ 802539 h 6858000"/>
              <a:gd name="connsiteX23" fmla="*/ 10073757 w 11648080"/>
              <a:gd name="connsiteY23" fmla="*/ 622182 h 6858000"/>
              <a:gd name="connsiteX24" fmla="*/ 10099498 w 11648080"/>
              <a:gd name="connsiteY24" fmla="*/ 638556 h 6858000"/>
              <a:gd name="connsiteX25" fmla="*/ 10157163 w 11648080"/>
              <a:gd name="connsiteY25" fmla="*/ 678888 h 6858000"/>
              <a:gd name="connsiteX26" fmla="*/ 10073757 w 11648080"/>
              <a:gd name="connsiteY26" fmla="*/ 622182 h 6858000"/>
              <a:gd name="connsiteX27" fmla="*/ 9805942 w 11648080"/>
              <a:gd name="connsiteY27" fmla="*/ 453866 h 6858000"/>
              <a:gd name="connsiteX28" fmla="*/ 9840808 w 11648080"/>
              <a:gd name="connsiteY28" fmla="*/ 474006 h 6858000"/>
              <a:gd name="connsiteX29" fmla="*/ 9898785 w 11648080"/>
              <a:gd name="connsiteY29" fmla="*/ 510885 h 6858000"/>
              <a:gd name="connsiteX30" fmla="*/ 9805942 w 11648080"/>
              <a:gd name="connsiteY30" fmla="*/ 453866 h 6858000"/>
              <a:gd name="connsiteX31" fmla="*/ 5416523 w 11648080"/>
              <a:gd name="connsiteY31" fmla="*/ 392344 h 6858000"/>
              <a:gd name="connsiteX32" fmla="*/ 7023101 w 11648080"/>
              <a:gd name="connsiteY32" fmla="*/ 661672 h 6858000"/>
              <a:gd name="connsiteX33" fmla="*/ 9331960 w 11648080"/>
              <a:gd name="connsiteY33" fmla="*/ 2457451 h 6858000"/>
              <a:gd name="connsiteX34" fmla="*/ 10982484 w 11648080"/>
              <a:gd name="connsiteY34" fmla="*/ 4320382 h 6858000"/>
              <a:gd name="connsiteX35" fmla="*/ 11046723 w 11648080"/>
              <a:gd name="connsiteY35" fmla="*/ 4399855 h 6858000"/>
              <a:gd name="connsiteX36" fmla="*/ 10950686 w 11648080"/>
              <a:gd name="connsiteY36" fmla="*/ 4415959 h 6858000"/>
              <a:gd name="connsiteX37" fmla="*/ 9269729 w 11648080"/>
              <a:gd name="connsiteY37" fmla="*/ 5092699 h 6858000"/>
              <a:gd name="connsiteX38" fmla="*/ 8111807 w 11648080"/>
              <a:gd name="connsiteY38" fmla="*/ 6820535 h 6858000"/>
              <a:gd name="connsiteX39" fmla="*/ 8096827 w 11648080"/>
              <a:gd name="connsiteY39" fmla="*/ 6858000 h 6858000"/>
              <a:gd name="connsiteX40" fmla="*/ 0 w 11648080"/>
              <a:gd name="connsiteY40" fmla="*/ 6858000 h 6858000"/>
              <a:gd name="connsiteX41" fmla="*/ 0 w 11648080"/>
              <a:gd name="connsiteY41" fmla="*/ 1312476 h 6858000"/>
              <a:gd name="connsiteX42" fmla="*/ 393384 w 11648080"/>
              <a:gd name="connsiteY42" fmla="*/ 1170010 h 6858000"/>
              <a:gd name="connsiteX43" fmla="*/ 1790701 w 11648080"/>
              <a:gd name="connsiteY43" fmla="*/ 836932 h 6858000"/>
              <a:gd name="connsiteX44" fmla="*/ 5416523 w 11648080"/>
              <a:gd name="connsiteY44" fmla="*/ 392344 h 6858000"/>
              <a:gd name="connsiteX45" fmla="*/ 7788060 w 11648080"/>
              <a:gd name="connsiteY45" fmla="*/ 373174 h 6858000"/>
              <a:gd name="connsiteX46" fmla="*/ 7951989 w 11648080"/>
              <a:gd name="connsiteY46" fmla="*/ 496695 h 6858000"/>
              <a:gd name="connsiteX47" fmla="*/ 8131809 w 11648080"/>
              <a:gd name="connsiteY47" fmla="*/ 618490 h 6858000"/>
              <a:gd name="connsiteX48" fmla="*/ 10486389 w 11648080"/>
              <a:gd name="connsiteY48" fmla="*/ 1795780 h 6858000"/>
              <a:gd name="connsiteX49" fmla="*/ 10759439 w 11648080"/>
              <a:gd name="connsiteY49" fmla="*/ 1939290 h 6858000"/>
              <a:gd name="connsiteX50" fmla="*/ 11288712 w 11648080"/>
              <a:gd name="connsiteY50" fmla="*/ 2224564 h 6858000"/>
              <a:gd name="connsiteX51" fmla="*/ 11288712 w 11648080"/>
              <a:gd name="connsiteY51" fmla="*/ 2224565 h 6858000"/>
              <a:gd name="connsiteX52" fmla="*/ 10759440 w 11648080"/>
              <a:gd name="connsiteY52" fmla="*/ 1939291 h 6858000"/>
              <a:gd name="connsiteX53" fmla="*/ 10486390 w 11648080"/>
              <a:gd name="connsiteY53" fmla="*/ 1795782 h 6858000"/>
              <a:gd name="connsiteX54" fmla="*/ 8131810 w 11648080"/>
              <a:gd name="connsiteY54" fmla="*/ 619761 h 6858000"/>
              <a:gd name="connsiteX55" fmla="*/ 7927023 w 11648080"/>
              <a:gd name="connsiteY55" fmla="*/ 479920 h 6858000"/>
              <a:gd name="connsiteX56" fmla="*/ 7788060 w 11648080"/>
              <a:gd name="connsiteY56" fmla="*/ 373174 h 6858000"/>
              <a:gd name="connsiteX57" fmla="*/ 7778945 w 11648080"/>
              <a:gd name="connsiteY57" fmla="*/ 366172 h 6858000"/>
              <a:gd name="connsiteX58" fmla="*/ 7788060 w 11648080"/>
              <a:gd name="connsiteY58" fmla="*/ 373174 h 6858000"/>
              <a:gd name="connsiteX59" fmla="*/ 7780464 w 11648080"/>
              <a:gd name="connsiteY59" fmla="*/ 367450 h 6858000"/>
              <a:gd name="connsiteX60" fmla="*/ 7778945 w 11648080"/>
              <a:gd name="connsiteY60" fmla="*/ 366172 h 6858000"/>
              <a:gd name="connsiteX61" fmla="*/ 7544713 w 11648080"/>
              <a:gd name="connsiteY61" fmla="*/ 169063 h 6858000"/>
              <a:gd name="connsiteX62" fmla="*/ 7778945 w 11648080"/>
              <a:gd name="connsiteY62" fmla="*/ 366172 h 6858000"/>
              <a:gd name="connsiteX63" fmla="*/ 7732713 w 11648080"/>
              <a:gd name="connsiteY63" fmla="*/ 330658 h 6858000"/>
              <a:gd name="connsiteX64" fmla="*/ 7544713 w 11648080"/>
              <a:gd name="connsiteY64" fmla="*/ 169063 h 6858000"/>
              <a:gd name="connsiteX65" fmla="*/ 7414333 w 11648080"/>
              <a:gd name="connsiteY65" fmla="*/ 56995 h 6858000"/>
              <a:gd name="connsiteX66" fmla="*/ 7544713 w 11648080"/>
              <a:gd name="connsiteY66" fmla="*/ 169063 h 6858000"/>
              <a:gd name="connsiteX67" fmla="*/ 7454642 w 11648080"/>
              <a:gd name="connsiteY67" fmla="*/ 93267 h 6858000"/>
              <a:gd name="connsiteX68" fmla="*/ 7414333 w 11648080"/>
              <a:gd name="connsiteY68" fmla="*/ 56995 h 6858000"/>
              <a:gd name="connsiteX69" fmla="*/ 7348739 w 11648080"/>
              <a:gd name="connsiteY69" fmla="*/ 0 h 6858000"/>
              <a:gd name="connsiteX70" fmla="*/ 7350996 w 11648080"/>
              <a:gd name="connsiteY70" fmla="*/ 0 h 6858000"/>
              <a:gd name="connsiteX71" fmla="*/ 7414333 w 11648080"/>
              <a:gd name="connsiteY71" fmla="*/ 56995 h 6858000"/>
              <a:gd name="connsiteX72" fmla="*/ 7364096 w 11648080"/>
              <a:gd name="connsiteY72" fmla="*/ 13813 h 6858000"/>
              <a:gd name="connsiteX73" fmla="*/ 7348739 w 11648080"/>
              <a:gd name="connsiteY73" fmla="*/ 0 h 6858000"/>
              <a:gd name="connsiteX74" fmla="*/ 1493836 w 11648080"/>
              <a:gd name="connsiteY74" fmla="*/ 0 h 6858000"/>
              <a:gd name="connsiteX75" fmla="*/ 1493841 w 11648080"/>
              <a:gd name="connsiteY75" fmla="*/ 0 h 6858000"/>
              <a:gd name="connsiteX76" fmla="*/ 1318737 w 11648080"/>
              <a:gd name="connsiteY76" fmla="*/ 70646 h 6858000"/>
              <a:gd name="connsiteX77" fmla="*/ 1036321 w 11648080"/>
              <a:gd name="connsiteY77" fmla="*/ 194312 h 6858000"/>
              <a:gd name="connsiteX78" fmla="*/ 130672 w 11648080"/>
              <a:gd name="connsiteY78" fmla="*/ 671514 h 6858000"/>
              <a:gd name="connsiteX79" fmla="*/ 0 w 11648080"/>
              <a:gd name="connsiteY79" fmla="*/ 747683 h 6858000"/>
              <a:gd name="connsiteX80" fmla="*/ 0 w 11648080"/>
              <a:gd name="connsiteY80" fmla="*/ 747682 h 6858000"/>
              <a:gd name="connsiteX81" fmla="*/ 130672 w 11648080"/>
              <a:gd name="connsiteY81" fmla="*/ 671513 h 6858000"/>
              <a:gd name="connsiteX82" fmla="*/ 1036321 w 11648080"/>
              <a:gd name="connsiteY82" fmla="*/ 194310 h 6858000"/>
              <a:gd name="connsiteX83" fmla="*/ 1318737 w 11648080"/>
              <a:gd name="connsiteY83" fmla="*/ 70644 h 6858000"/>
              <a:gd name="connsiteX84" fmla="*/ 1493836 w 11648080"/>
              <a:gd name="connsiteY84" fmla="*/ 0 h 6858000"/>
              <a:gd name="connsiteX0" fmla="*/ 11648080 w 11648080"/>
              <a:gd name="connsiteY0" fmla="*/ 2146495 h 6858000"/>
              <a:gd name="connsiteX1" fmla="*/ 11629346 w 11648080"/>
              <a:gd name="connsiteY1" fmla="*/ 2112520 h 6858000"/>
              <a:gd name="connsiteX2" fmla="*/ 11648080 w 11648080"/>
              <a:gd name="connsiteY2" fmla="*/ 2146495 h 6858000"/>
              <a:gd name="connsiteX3" fmla="*/ 11494204 w 11648080"/>
              <a:gd name="connsiteY3" fmla="*/ 1905523 h 6858000"/>
              <a:gd name="connsiteX4" fmla="*/ 11523841 w 11648080"/>
              <a:gd name="connsiteY4" fmla="*/ 1945872 h 6858000"/>
              <a:gd name="connsiteX5" fmla="*/ 11550310 w 11648080"/>
              <a:gd name="connsiteY5" fmla="*/ 1987681 h 6858000"/>
              <a:gd name="connsiteX6" fmla="*/ 11494204 w 11648080"/>
              <a:gd name="connsiteY6" fmla="*/ 1905523 h 6858000"/>
              <a:gd name="connsiteX7" fmla="*/ 11326061 w 11648080"/>
              <a:gd name="connsiteY7" fmla="*/ 1692532 h 6858000"/>
              <a:gd name="connsiteX8" fmla="*/ 11406282 w 11648080"/>
              <a:gd name="connsiteY8" fmla="*/ 1785822 h 6858000"/>
              <a:gd name="connsiteX9" fmla="*/ 11420409 w 11648080"/>
              <a:gd name="connsiteY9" fmla="*/ 1805055 h 6858000"/>
              <a:gd name="connsiteX10" fmla="*/ 11326061 w 11648080"/>
              <a:gd name="connsiteY10" fmla="*/ 1692532 h 6858000"/>
              <a:gd name="connsiteX11" fmla="*/ 10829453 w 11648080"/>
              <a:gd name="connsiteY11" fmla="*/ 1199865 h 6858000"/>
              <a:gd name="connsiteX12" fmla="*/ 10830227 w 11648080"/>
              <a:gd name="connsiteY12" fmla="*/ 1200518 h 6858000"/>
              <a:gd name="connsiteX13" fmla="*/ 10836860 w 11648080"/>
              <a:gd name="connsiteY13" fmla="*/ 1206669 h 6858000"/>
              <a:gd name="connsiteX14" fmla="*/ 10829453 w 11648080"/>
              <a:gd name="connsiteY14" fmla="*/ 1199865 h 6858000"/>
              <a:gd name="connsiteX15" fmla="*/ 10586019 w 11648080"/>
              <a:gd name="connsiteY15" fmla="*/ 995058 h 6858000"/>
              <a:gd name="connsiteX16" fmla="*/ 10594661 w 11648080"/>
              <a:gd name="connsiteY16" fmla="*/ 1001698 h 6858000"/>
              <a:gd name="connsiteX17" fmla="*/ 10635916 w 11648080"/>
              <a:gd name="connsiteY17" fmla="*/ 1036517 h 6858000"/>
              <a:gd name="connsiteX18" fmla="*/ 10586019 w 11648080"/>
              <a:gd name="connsiteY18" fmla="*/ 995058 h 6858000"/>
              <a:gd name="connsiteX19" fmla="*/ 10333954 w 11648080"/>
              <a:gd name="connsiteY19" fmla="*/ 802539 h 6858000"/>
              <a:gd name="connsiteX20" fmla="*/ 10350933 w 11648080"/>
              <a:gd name="connsiteY20" fmla="*/ 814415 h 6858000"/>
              <a:gd name="connsiteX21" fmla="*/ 10404349 w 11648080"/>
              <a:gd name="connsiteY21" fmla="*/ 855460 h 6858000"/>
              <a:gd name="connsiteX22" fmla="*/ 10333954 w 11648080"/>
              <a:gd name="connsiteY22" fmla="*/ 802539 h 6858000"/>
              <a:gd name="connsiteX23" fmla="*/ 10073757 w 11648080"/>
              <a:gd name="connsiteY23" fmla="*/ 622182 h 6858000"/>
              <a:gd name="connsiteX24" fmla="*/ 10099498 w 11648080"/>
              <a:gd name="connsiteY24" fmla="*/ 638556 h 6858000"/>
              <a:gd name="connsiteX25" fmla="*/ 10157163 w 11648080"/>
              <a:gd name="connsiteY25" fmla="*/ 678888 h 6858000"/>
              <a:gd name="connsiteX26" fmla="*/ 10073757 w 11648080"/>
              <a:gd name="connsiteY26" fmla="*/ 622182 h 6858000"/>
              <a:gd name="connsiteX27" fmla="*/ 9898785 w 11648080"/>
              <a:gd name="connsiteY27" fmla="*/ 510885 h 6858000"/>
              <a:gd name="connsiteX28" fmla="*/ 9840808 w 11648080"/>
              <a:gd name="connsiteY28" fmla="*/ 474006 h 6858000"/>
              <a:gd name="connsiteX29" fmla="*/ 9898785 w 11648080"/>
              <a:gd name="connsiteY29" fmla="*/ 510885 h 6858000"/>
              <a:gd name="connsiteX30" fmla="*/ 5416523 w 11648080"/>
              <a:gd name="connsiteY30" fmla="*/ 392344 h 6858000"/>
              <a:gd name="connsiteX31" fmla="*/ 7023101 w 11648080"/>
              <a:gd name="connsiteY31" fmla="*/ 661672 h 6858000"/>
              <a:gd name="connsiteX32" fmla="*/ 9331960 w 11648080"/>
              <a:gd name="connsiteY32" fmla="*/ 2457451 h 6858000"/>
              <a:gd name="connsiteX33" fmla="*/ 10982484 w 11648080"/>
              <a:gd name="connsiteY33" fmla="*/ 4320382 h 6858000"/>
              <a:gd name="connsiteX34" fmla="*/ 11046723 w 11648080"/>
              <a:gd name="connsiteY34" fmla="*/ 4399855 h 6858000"/>
              <a:gd name="connsiteX35" fmla="*/ 10950686 w 11648080"/>
              <a:gd name="connsiteY35" fmla="*/ 4415959 h 6858000"/>
              <a:gd name="connsiteX36" fmla="*/ 9269729 w 11648080"/>
              <a:gd name="connsiteY36" fmla="*/ 5092699 h 6858000"/>
              <a:gd name="connsiteX37" fmla="*/ 8111807 w 11648080"/>
              <a:gd name="connsiteY37" fmla="*/ 6820535 h 6858000"/>
              <a:gd name="connsiteX38" fmla="*/ 8096827 w 11648080"/>
              <a:gd name="connsiteY38" fmla="*/ 6858000 h 6858000"/>
              <a:gd name="connsiteX39" fmla="*/ 0 w 11648080"/>
              <a:gd name="connsiteY39" fmla="*/ 6858000 h 6858000"/>
              <a:gd name="connsiteX40" fmla="*/ 0 w 11648080"/>
              <a:gd name="connsiteY40" fmla="*/ 1312476 h 6858000"/>
              <a:gd name="connsiteX41" fmla="*/ 393384 w 11648080"/>
              <a:gd name="connsiteY41" fmla="*/ 1170010 h 6858000"/>
              <a:gd name="connsiteX42" fmla="*/ 1790701 w 11648080"/>
              <a:gd name="connsiteY42" fmla="*/ 836932 h 6858000"/>
              <a:gd name="connsiteX43" fmla="*/ 5416523 w 11648080"/>
              <a:gd name="connsiteY43" fmla="*/ 392344 h 6858000"/>
              <a:gd name="connsiteX44" fmla="*/ 7788060 w 11648080"/>
              <a:gd name="connsiteY44" fmla="*/ 373174 h 6858000"/>
              <a:gd name="connsiteX45" fmla="*/ 7951989 w 11648080"/>
              <a:gd name="connsiteY45" fmla="*/ 496695 h 6858000"/>
              <a:gd name="connsiteX46" fmla="*/ 8131809 w 11648080"/>
              <a:gd name="connsiteY46" fmla="*/ 618490 h 6858000"/>
              <a:gd name="connsiteX47" fmla="*/ 10486389 w 11648080"/>
              <a:gd name="connsiteY47" fmla="*/ 1795780 h 6858000"/>
              <a:gd name="connsiteX48" fmla="*/ 10759439 w 11648080"/>
              <a:gd name="connsiteY48" fmla="*/ 1939290 h 6858000"/>
              <a:gd name="connsiteX49" fmla="*/ 11288712 w 11648080"/>
              <a:gd name="connsiteY49" fmla="*/ 2224564 h 6858000"/>
              <a:gd name="connsiteX50" fmla="*/ 11288712 w 11648080"/>
              <a:gd name="connsiteY50" fmla="*/ 2224565 h 6858000"/>
              <a:gd name="connsiteX51" fmla="*/ 10759440 w 11648080"/>
              <a:gd name="connsiteY51" fmla="*/ 1939291 h 6858000"/>
              <a:gd name="connsiteX52" fmla="*/ 10486390 w 11648080"/>
              <a:gd name="connsiteY52" fmla="*/ 1795782 h 6858000"/>
              <a:gd name="connsiteX53" fmla="*/ 8131810 w 11648080"/>
              <a:gd name="connsiteY53" fmla="*/ 619761 h 6858000"/>
              <a:gd name="connsiteX54" fmla="*/ 7927023 w 11648080"/>
              <a:gd name="connsiteY54" fmla="*/ 479920 h 6858000"/>
              <a:gd name="connsiteX55" fmla="*/ 7788060 w 11648080"/>
              <a:gd name="connsiteY55" fmla="*/ 373174 h 6858000"/>
              <a:gd name="connsiteX56" fmla="*/ 7778945 w 11648080"/>
              <a:gd name="connsiteY56" fmla="*/ 366172 h 6858000"/>
              <a:gd name="connsiteX57" fmla="*/ 7788060 w 11648080"/>
              <a:gd name="connsiteY57" fmla="*/ 373174 h 6858000"/>
              <a:gd name="connsiteX58" fmla="*/ 7780464 w 11648080"/>
              <a:gd name="connsiteY58" fmla="*/ 367450 h 6858000"/>
              <a:gd name="connsiteX59" fmla="*/ 7778945 w 11648080"/>
              <a:gd name="connsiteY59" fmla="*/ 366172 h 6858000"/>
              <a:gd name="connsiteX60" fmla="*/ 7544713 w 11648080"/>
              <a:gd name="connsiteY60" fmla="*/ 169063 h 6858000"/>
              <a:gd name="connsiteX61" fmla="*/ 7778945 w 11648080"/>
              <a:gd name="connsiteY61" fmla="*/ 366172 h 6858000"/>
              <a:gd name="connsiteX62" fmla="*/ 7732713 w 11648080"/>
              <a:gd name="connsiteY62" fmla="*/ 330658 h 6858000"/>
              <a:gd name="connsiteX63" fmla="*/ 7544713 w 11648080"/>
              <a:gd name="connsiteY63" fmla="*/ 169063 h 6858000"/>
              <a:gd name="connsiteX64" fmla="*/ 7414333 w 11648080"/>
              <a:gd name="connsiteY64" fmla="*/ 56995 h 6858000"/>
              <a:gd name="connsiteX65" fmla="*/ 7544713 w 11648080"/>
              <a:gd name="connsiteY65" fmla="*/ 169063 h 6858000"/>
              <a:gd name="connsiteX66" fmla="*/ 7454642 w 11648080"/>
              <a:gd name="connsiteY66" fmla="*/ 93267 h 6858000"/>
              <a:gd name="connsiteX67" fmla="*/ 7414333 w 11648080"/>
              <a:gd name="connsiteY67" fmla="*/ 56995 h 6858000"/>
              <a:gd name="connsiteX68" fmla="*/ 7348739 w 11648080"/>
              <a:gd name="connsiteY68" fmla="*/ 0 h 6858000"/>
              <a:gd name="connsiteX69" fmla="*/ 7350996 w 11648080"/>
              <a:gd name="connsiteY69" fmla="*/ 0 h 6858000"/>
              <a:gd name="connsiteX70" fmla="*/ 7414333 w 11648080"/>
              <a:gd name="connsiteY70" fmla="*/ 56995 h 6858000"/>
              <a:gd name="connsiteX71" fmla="*/ 7364096 w 11648080"/>
              <a:gd name="connsiteY71" fmla="*/ 13813 h 6858000"/>
              <a:gd name="connsiteX72" fmla="*/ 7348739 w 11648080"/>
              <a:gd name="connsiteY72" fmla="*/ 0 h 6858000"/>
              <a:gd name="connsiteX73" fmla="*/ 1493836 w 11648080"/>
              <a:gd name="connsiteY73" fmla="*/ 0 h 6858000"/>
              <a:gd name="connsiteX74" fmla="*/ 1493841 w 11648080"/>
              <a:gd name="connsiteY74" fmla="*/ 0 h 6858000"/>
              <a:gd name="connsiteX75" fmla="*/ 1318737 w 11648080"/>
              <a:gd name="connsiteY75" fmla="*/ 70646 h 6858000"/>
              <a:gd name="connsiteX76" fmla="*/ 1036321 w 11648080"/>
              <a:gd name="connsiteY76" fmla="*/ 194312 h 6858000"/>
              <a:gd name="connsiteX77" fmla="*/ 130672 w 11648080"/>
              <a:gd name="connsiteY77" fmla="*/ 671514 h 6858000"/>
              <a:gd name="connsiteX78" fmla="*/ 0 w 11648080"/>
              <a:gd name="connsiteY78" fmla="*/ 747683 h 6858000"/>
              <a:gd name="connsiteX79" fmla="*/ 0 w 11648080"/>
              <a:gd name="connsiteY79" fmla="*/ 747682 h 6858000"/>
              <a:gd name="connsiteX80" fmla="*/ 130672 w 11648080"/>
              <a:gd name="connsiteY80" fmla="*/ 671513 h 6858000"/>
              <a:gd name="connsiteX81" fmla="*/ 1036321 w 11648080"/>
              <a:gd name="connsiteY81" fmla="*/ 194310 h 6858000"/>
              <a:gd name="connsiteX82" fmla="*/ 1318737 w 11648080"/>
              <a:gd name="connsiteY82" fmla="*/ 70644 h 6858000"/>
              <a:gd name="connsiteX83" fmla="*/ 1493836 w 11648080"/>
              <a:gd name="connsiteY83" fmla="*/ 0 h 6858000"/>
              <a:gd name="connsiteX0" fmla="*/ 11648080 w 11648080"/>
              <a:gd name="connsiteY0" fmla="*/ 2146495 h 6858000"/>
              <a:gd name="connsiteX1" fmla="*/ 11629346 w 11648080"/>
              <a:gd name="connsiteY1" fmla="*/ 2112520 h 6858000"/>
              <a:gd name="connsiteX2" fmla="*/ 11648080 w 11648080"/>
              <a:gd name="connsiteY2" fmla="*/ 2146495 h 6858000"/>
              <a:gd name="connsiteX3" fmla="*/ 11494204 w 11648080"/>
              <a:gd name="connsiteY3" fmla="*/ 1905523 h 6858000"/>
              <a:gd name="connsiteX4" fmla="*/ 11523841 w 11648080"/>
              <a:gd name="connsiteY4" fmla="*/ 1945872 h 6858000"/>
              <a:gd name="connsiteX5" fmla="*/ 11550310 w 11648080"/>
              <a:gd name="connsiteY5" fmla="*/ 1987681 h 6858000"/>
              <a:gd name="connsiteX6" fmla="*/ 11494204 w 11648080"/>
              <a:gd name="connsiteY6" fmla="*/ 1905523 h 6858000"/>
              <a:gd name="connsiteX7" fmla="*/ 11326061 w 11648080"/>
              <a:gd name="connsiteY7" fmla="*/ 1692532 h 6858000"/>
              <a:gd name="connsiteX8" fmla="*/ 11406282 w 11648080"/>
              <a:gd name="connsiteY8" fmla="*/ 1785822 h 6858000"/>
              <a:gd name="connsiteX9" fmla="*/ 11420409 w 11648080"/>
              <a:gd name="connsiteY9" fmla="*/ 1805055 h 6858000"/>
              <a:gd name="connsiteX10" fmla="*/ 11326061 w 11648080"/>
              <a:gd name="connsiteY10" fmla="*/ 1692532 h 6858000"/>
              <a:gd name="connsiteX11" fmla="*/ 10829453 w 11648080"/>
              <a:gd name="connsiteY11" fmla="*/ 1199865 h 6858000"/>
              <a:gd name="connsiteX12" fmla="*/ 10830227 w 11648080"/>
              <a:gd name="connsiteY12" fmla="*/ 1200518 h 6858000"/>
              <a:gd name="connsiteX13" fmla="*/ 10836860 w 11648080"/>
              <a:gd name="connsiteY13" fmla="*/ 1206669 h 6858000"/>
              <a:gd name="connsiteX14" fmla="*/ 10829453 w 11648080"/>
              <a:gd name="connsiteY14" fmla="*/ 1199865 h 6858000"/>
              <a:gd name="connsiteX15" fmla="*/ 10586019 w 11648080"/>
              <a:gd name="connsiteY15" fmla="*/ 995058 h 6858000"/>
              <a:gd name="connsiteX16" fmla="*/ 10594661 w 11648080"/>
              <a:gd name="connsiteY16" fmla="*/ 1001698 h 6858000"/>
              <a:gd name="connsiteX17" fmla="*/ 10635916 w 11648080"/>
              <a:gd name="connsiteY17" fmla="*/ 1036517 h 6858000"/>
              <a:gd name="connsiteX18" fmla="*/ 10586019 w 11648080"/>
              <a:gd name="connsiteY18" fmla="*/ 995058 h 6858000"/>
              <a:gd name="connsiteX19" fmla="*/ 10333954 w 11648080"/>
              <a:gd name="connsiteY19" fmla="*/ 802539 h 6858000"/>
              <a:gd name="connsiteX20" fmla="*/ 10350933 w 11648080"/>
              <a:gd name="connsiteY20" fmla="*/ 814415 h 6858000"/>
              <a:gd name="connsiteX21" fmla="*/ 10404349 w 11648080"/>
              <a:gd name="connsiteY21" fmla="*/ 855460 h 6858000"/>
              <a:gd name="connsiteX22" fmla="*/ 10333954 w 11648080"/>
              <a:gd name="connsiteY22" fmla="*/ 802539 h 6858000"/>
              <a:gd name="connsiteX23" fmla="*/ 10073757 w 11648080"/>
              <a:gd name="connsiteY23" fmla="*/ 622182 h 6858000"/>
              <a:gd name="connsiteX24" fmla="*/ 10099498 w 11648080"/>
              <a:gd name="connsiteY24" fmla="*/ 638556 h 6858000"/>
              <a:gd name="connsiteX25" fmla="*/ 10157163 w 11648080"/>
              <a:gd name="connsiteY25" fmla="*/ 678888 h 6858000"/>
              <a:gd name="connsiteX26" fmla="*/ 10073757 w 11648080"/>
              <a:gd name="connsiteY26" fmla="*/ 622182 h 6858000"/>
              <a:gd name="connsiteX27" fmla="*/ 5416523 w 11648080"/>
              <a:gd name="connsiteY27" fmla="*/ 392344 h 6858000"/>
              <a:gd name="connsiteX28" fmla="*/ 7023101 w 11648080"/>
              <a:gd name="connsiteY28" fmla="*/ 661672 h 6858000"/>
              <a:gd name="connsiteX29" fmla="*/ 9331960 w 11648080"/>
              <a:gd name="connsiteY29" fmla="*/ 2457451 h 6858000"/>
              <a:gd name="connsiteX30" fmla="*/ 10982484 w 11648080"/>
              <a:gd name="connsiteY30" fmla="*/ 4320382 h 6858000"/>
              <a:gd name="connsiteX31" fmla="*/ 11046723 w 11648080"/>
              <a:gd name="connsiteY31" fmla="*/ 4399855 h 6858000"/>
              <a:gd name="connsiteX32" fmla="*/ 10950686 w 11648080"/>
              <a:gd name="connsiteY32" fmla="*/ 4415959 h 6858000"/>
              <a:gd name="connsiteX33" fmla="*/ 9269729 w 11648080"/>
              <a:gd name="connsiteY33" fmla="*/ 5092699 h 6858000"/>
              <a:gd name="connsiteX34" fmla="*/ 8111807 w 11648080"/>
              <a:gd name="connsiteY34" fmla="*/ 6820535 h 6858000"/>
              <a:gd name="connsiteX35" fmla="*/ 8096827 w 11648080"/>
              <a:gd name="connsiteY35" fmla="*/ 6858000 h 6858000"/>
              <a:gd name="connsiteX36" fmla="*/ 0 w 11648080"/>
              <a:gd name="connsiteY36" fmla="*/ 6858000 h 6858000"/>
              <a:gd name="connsiteX37" fmla="*/ 0 w 11648080"/>
              <a:gd name="connsiteY37" fmla="*/ 1312476 h 6858000"/>
              <a:gd name="connsiteX38" fmla="*/ 393384 w 11648080"/>
              <a:gd name="connsiteY38" fmla="*/ 1170010 h 6858000"/>
              <a:gd name="connsiteX39" fmla="*/ 1790701 w 11648080"/>
              <a:gd name="connsiteY39" fmla="*/ 836932 h 6858000"/>
              <a:gd name="connsiteX40" fmla="*/ 5416523 w 11648080"/>
              <a:gd name="connsiteY40" fmla="*/ 392344 h 6858000"/>
              <a:gd name="connsiteX41" fmla="*/ 7788060 w 11648080"/>
              <a:gd name="connsiteY41" fmla="*/ 373174 h 6858000"/>
              <a:gd name="connsiteX42" fmla="*/ 7951989 w 11648080"/>
              <a:gd name="connsiteY42" fmla="*/ 496695 h 6858000"/>
              <a:gd name="connsiteX43" fmla="*/ 8131809 w 11648080"/>
              <a:gd name="connsiteY43" fmla="*/ 618490 h 6858000"/>
              <a:gd name="connsiteX44" fmla="*/ 10486389 w 11648080"/>
              <a:gd name="connsiteY44" fmla="*/ 1795780 h 6858000"/>
              <a:gd name="connsiteX45" fmla="*/ 10759439 w 11648080"/>
              <a:gd name="connsiteY45" fmla="*/ 1939290 h 6858000"/>
              <a:gd name="connsiteX46" fmla="*/ 11288712 w 11648080"/>
              <a:gd name="connsiteY46" fmla="*/ 2224564 h 6858000"/>
              <a:gd name="connsiteX47" fmla="*/ 11288712 w 11648080"/>
              <a:gd name="connsiteY47" fmla="*/ 2224565 h 6858000"/>
              <a:gd name="connsiteX48" fmla="*/ 10759440 w 11648080"/>
              <a:gd name="connsiteY48" fmla="*/ 1939291 h 6858000"/>
              <a:gd name="connsiteX49" fmla="*/ 10486390 w 11648080"/>
              <a:gd name="connsiteY49" fmla="*/ 1795782 h 6858000"/>
              <a:gd name="connsiteX50" fmla="*/ 8131810 w 11648080"/>
              <a:gd name="connsiteY50" fmla="*/ 619761 h 6858000"/>
              <a:gd name="connsiteX51" fmla="*/ 7927023 w 11648080"/>
              <a:gd name="connsiteY51" fmla="*/ 479920 h 6858000"/>
              <a:gd name="connsiteX52" fmla="*/ 7788060 w 11648080"/>
              <a:gd name="connsiteY52" fmla="*/ 373174 h 6858000"/>
              <a:gd name="connsiteX53" fmla="*/ 7778945 w 11648080"/>
              <a:gd name="connsiteY53" fmla="*/ 366172 h 6858000"/>
              <a:gd name="connsiteX54" fmla="*/ 7788060 w 11648080"/>
              <a:gd name="connsiteY54" fmla="*/ 373174 h 6858000"/>
              <a:gd name="connsiteX55" fmla="*/ 7780464 w 11648080"/>
              <a:gd name="connsiteY55" fmla="*/ 367450 h 6858000"/>
              <a:gd name="connsiteX56" fmla="*/ 7778945 w 11648080"/>
              <a:gd name="connsiteY56" fmla="*/ 366172 h 6858000"/>
              <a:gd name="connsiteX57" fmla="*/ 7544713 w 11648080"/>
              <a:gd name="connsiteY57" fmla="*/ 169063 h 6858000"/>
              <a:gd name="connsiteX58" fmla="*/ 7778945 w 11648080"/>
              <a:gd name="connsiteY58" fmla="*/ 366172 h 6858000"/>
              <a:gd name="connsiteX59" fmla="*/ 7732713 w 11648080"/>
              <a:gd name="connsiteY59" fmla="*/ 330658 h 6858000"/>
              <a:gd name="connsiteX60" fmla="*/ 7544713 w 11648080"/>
              <a:gd name="connsiteY60" fmla="*/ 169063 h 6858000"/>
              <a:gd name="connsiteX61" fmla="*/ 7414333 w 11648080"/>
              <a:gd name="connsiteY61" fmla="*/ 56995 h 6858000"/>
              <a:gd name="connsiteX62" fmla="*/ 7544713 w 11648080"/>
              <a:gd name="connsiteY62" fmla="*/ 169063 h 6858000"/>
              <a:gd name="connsiteX63" fmla="*/ 7454642 w 11648080"/>
              <a:gd name="connsiteY63" fmla="*/ 93267 h 6858000"/>
              <a:gd name="connsiteX64" fmla="*/ 7414333 w 11648080"/>
              <a:gd name="connsiteY64" fmla="*/ 56995 h 6858000"/>
              <a:gd name="connsiteX65" fmla="*/ 7348739 w 11648080"/>
              <a:gd name="connsiteY65" fmla="*/ 0 h 6858000"/>
              <a:gd name="connsiteX66" fmla="*/ 7350996 w 11648080"/>
              <a:gd name="connsiteY66" fmla="*/ 0 h 6858000"/>
              <a:gd name="connsiteX67" fmla="*/ 7414333 w 11648080"/>
              <a:gd name="connsiteY67" fmla="*/ 56995 h 6858000"/>
              <a:gd name="connsiteX68" fmla="*/ 7364096 w 11648080"/>
              <a:gd name="connsiteY68" fmla="*/ 13813 h 6858000"/>
              <a:gd name="connsiteX69" fmla="*/ 7348739 w 11648080"/>
              <a:gd name="connsiteY69" fmla="*/ 0 h 6858000"/>
              <a:gd name="connsiteX70" fmla="*/ 1493836 w 11648080"/>
              <a:gd name="connsiteY70" fmla="*/ 0 h 6858000"/>
              <a:gd name="connsiteX71" fmla="*/ 1493841 w 11648080"/>
              <a:gd name="connsiteY71" fmla="*/ 0 h 6858000"/>
              <a:gd name="connsiteX72" fmla="*/ 1318737 w 11648080"/>
              <a:gd name="connsiteY72" fmla="*/ 70646 h 6858000"/>
              <a:gd name="connsiteX73" fmla="*/ 1036321 w 11648080"/>
              <a:gd name="connsiteY73" fmla="*/ 194312 h 6858000"/>
              <a:gd name="connsiteX74" fmla="*/ 130672 w 11648080"/>
              <a:gd name="connsiteY74" fmla="*/ 671514 h 6858000"/>
              <a:gd name="connsiteX75" fmla="*/ 0 w 11648080"/>
              <a:gd name="connsiteY75" fmla="*/ 747683 h 6858000"/>
              <a:gd name="connsiteX76" fmla="*/ 0 w 11648080"/>
              <a:gd name="connsiteY76" fmla="*/ 747682 h 6858000"/>
              <a:gd name="connsiteX77" fmla="*/ 130672 w 11648080"/>
              <a:gd name="connsiteY77" fmla="*/ 671513 h 6858000"/>
              <a:gd name="connsiteX78" fmla="*/ 1036321 w 11648080"/>
              <a:gd name="connsiteY78" fmla="*/ 194310 h 6858000"/>
              <a:gd name="connsiteX79" fmla="*/ 1318737 w 11648080"/>
              <a:gd name="connsiteY79" fmla="*/ 70644 h 6858000"/>
              <a:gd name="connsiteX80" fmla="*/ 1493836 w 11648080"/>
              <a:gd name="connsiteY80" fmla="*/ 0 h 6858000"/>
              <a:gd name="connsiteX0" fmla="*/ 11648080 w 11648080"/>
              <a:gd name="connsiteY0" fmla="*/ 2146495 h 6858000"/>
              <a:gd name="connsiteX1" fmla="*/ 11629346 w 11648080"/>
              <a:gd name="connsiteY1" fmla="*/ 2112520 h 6858000"/>
              <a:gd name="connsiteX2" fmla="*/ 11648080 w 11648080"/>
              <a:gd name="connsiteY2" fmla="*/ 2146495 h 6858000"/>
              <a:gd name="connsiteX3" fmla="*/ 11494204 w 11648080"/>
              <a:gd name="connsiteY3" fmla="*/ 1905523 h 6858000"/>
              <a:gd name="connsiteX4" fmla="*/ 11523841 w 11648080"/>
              <a:gd name="connsiteY4" fmla="*/ 1945872 h 6858000"/>
              <a:gd name="connsiteX5" fmla="*/ 11550310 w 11648080"/>
              <a:gd name="connsiteY5" fmla="*/ 1987681 h 6858000"/>
              <a:gd name="connsiteX6" fmla="*/ 11494204 w 11648080"/>
              <a:gd name="connsiteY6" fmla="*/ 1905523 h 6858000"/>
              <a:gd name="connsiteX7" fmla="*/ 11326061 w 11648080"/>
              <a:gd name="connsiteY7" fmla="*/ 1692532 h 6858000"/>
              <a:gd name="connsiteX8" fmla="*/ 11406282 w 11648080"/>
              <a:gd name="connsiteY8" fmla="*/ 1785822 h 6858000"/>
              <a:gd name="connsiteX9" fmla="*/ 11420409 w 11648080"/>
              <a:gd name="connsiteY9" fmla="*/ 1805055 h 6858000"/>
              <a:gd name="connsiteX10" fmla="*/ 11326061 w 11648080"/>
              <a:gd name="connsiteY10" fmla="*/ 1692532 h 6858000"/>
              <a:gd name="connsiteX11" fmla="*/ 10829453 w 11648080"/>
              <a:gd name="connsiteY11" fmla="*/ 1199865 h 6858000"/>
              <a:gd name="connsiteX12" fmla="*/ 10830227 w 11648080"/>
              <a:gd name="connsiteY12" fmla="*/ 1200518 h 6858000"/>
              <a:gd name="connsiteX13" fmla="*/ 10836860 w 11648080"/>
              <a:gd name="connsiteY13" fmla="*/ 1206669 h 6858000"/>
              <a:gd name="connsiteX14" fmla="*/ 10829453 w 11648080"/>
              <a:gd name="connsiteY14" fmla="*/ 1199865 h 6858000"/>
              <a:gd name="connsiteX15" fmla="*/ 10586019 w 11648080"/>
              <a:gd name="connsiteY15" fmla="*/ 995058 h 6858000"/>
              <a:gd name="connsiteX16" fmla="*/ 10594661 w 11648080"/>
              <a:gd name="connsiteY16" fmla="*/ 1001698 h 6858000"/>
              <a:gd name="connsiteX17" fmla="*/ 10635916 w 11648080"/>
              <a:gd name="connsiteY17" fmla="*/ 1036517 h 6858000"/>
              <a:gd name="connsiteX18" fmla="*/ 10586019 w 11648080"/>
              <a:gd name="connsiteY18" fmla="*/ 995058 h 6858000"/>
              <a:gd name="connsiteX19" fmla="*/ 10333954 w 11648080"/>
              <a:gd name="connsiteY19" fmla="*/ 802539 h 6858000"/>
              <a:gd name="connsiteX20" fmla="*/ 10350933 w 11648080"/>
              <a:gd name="connsiteY20" fmla="*/ 814415 h 6858000"/>
              <a:gd name="connsiteX21" fmla="*/ 10404349 w 11648080"/>
              <a:gd name="connsiteY21" fmla="*/ 855460 h 6858000"/>
              <a:gd name="connsiteX22" fmla="*/ 10333954 w 11648080"/>
              <a:gd name="connsiteY22" fmla="*/ 802539 h 6858000"/>
              <a:gd name="connsiteX23" fmla="*/ 10157163 w 11648080"/>
              <a:gd name="connsiteY23" fmla="*/ 678888 h 6858000"/>
              <a:gd name="connsiteX24" fmla="*/ 10099498 w 11648080"/>
              <a:gd name="connsiteY24" fmla="*/ 638556 h 6858000"/>
              <a:gd name="connsiteX25" fmla="*/ 10157163 w 11648080"/>
              <a:gd name="connsiteY25" fmla="*/ 678888 h 6858000"/>
              <a:gd name="connsiteX26" fmla="*/ 5416523 w 11648080"/>
              <a:gd name="connsiteY26" fmla="*/ 392344 h 6858000"/>
              <a:gd name="connsiteX27" fmla="*/ 7023101 w 11648080"/>
              <a:gd name="connsiteY27" fmla="*/ 661672 h 6858000"/>
              <a:gd name="connsiteX28" fmla="*/ 9331960 w 11648080"/>
              <a:gd name="connsiteY28" fmla="*/ 2457451 h 6858000"/>
              <a:gd name="connsiteX29" fmla="*/ 10982484 w 11648080"/>
              <a:gd name="connsiteY29" fmla="*/ 4320382 h 6858000"/>
              <a:gd name="connsiteX30" fmla="*/ 11046723 w 11648080"/>
              <a:gd name="connsiteY30" fmla="*/ 4399855 h 6858000"/>
              <a:gd name="connsiteX31" fmla="*/ 10950686 w 11648080"/>
              <a:gd name="connsiteY31" fmla="*/ 4415959 h 6858000"/>
              <a:gd name="connsiteX32" fmla="*/ 9269729 w 11648080"/>
              <a:gd name="connsiteY32" fmla="*/ 5092699 h 6858000"/>
              <a:gd name="connsiteX33" fmla="*/ 8111807 w 11648080"/>
              <a:gd name="connsiteY33" fmla="*/ 6820535 h 6858000"/>
              <a:gd name="connsiteX34" fmla="*/ 8096827 w 11648080"/>
              <a:gd name="connsiteY34" fmla="*/ 6858000 h 6858000"/>
              <a:gd name="connsiteX35" fmla="*/ 0 w 11648080"/>
              <a:gd name="connsiteY35" fmla="*/ 6858000 h 6858000"/>
              <a:gd name="connsiteX36" fmla="*/ 0 w 11648080"/>
              <a:gd name="connsiteY36" fmla="*/ 1312476 h 6858000"/>
              <a:gd name="connsiteX37" fmla="*/ 393384 w 11648080"/>
              <a:gd name="connsiteY37" fmla="*/ 1170010 h 6858000"/>
              <a:gd name="connsiteX38" fmla="*/ 1790701 w 11648080"/>
              <a:gd name="connsiteY38" fmla="*/ 836932 h 6858000"/>
              <a:gd name="connsiteX39" fmla="*/ 5416523 w 11648080"/>
              <a:gd name="connsiteY39" fmla="*/ 392344 h 6858000"/>
              <a:gd name="connsiteX40" fmla="*/ 7788060 w 11648080"/>
              <a:gd name="connsiteY40" fmla="*/ 373174 h 6858000"/>
              <a:gd name="connsiteX41" fmla="*/ 7951989 w 11648080"/>
              <a:gd name="connsiteY41" fmla="*/ 496695 h 6858000"/>
              <a:gd name="connsiteX42" fmla="*/ 8131809 w 11648080"/>
              <a:gd name="connsiteY42" fmla="*/ 618490 h 6858000"/>
              <a:gd name="connsiteX43" fmla="*/ 10486389 w 11648080"/>
              <a:gd name="connsiteY43" fmla="*/ 1795780 h 6858000"/>
              <a:gd name="connsiteX44" fmla="*/ 10759439 w 11648080"/>
              <a:gd name="connsiteY44" fmla="*/ 1939290 h 6858000"/>
              <a:gd name="connsiteX45" fmla="*/ 11288712 w 11648080"/>
              <a:gd name="connsiteY45" fmla="*/ 2224564 h 6858000"/>
              <a:gd name="connsiteX46" fmla="*/ 11288712 w 11648080"/>
              <a:gd name="connsiteY46" fmla="*/ 2224565 h 6858000"/>
              <a:gd name="connsiteX47" fmla="*/ 10759440 w 11648080"/>
              <a:gd name="connsiteY47" fmla="*/ 1939291 h 6858000"/>
              <a:gd name="connsiteX48" fmla="*/ 10486390 w 11648080"/>
              <a:gd name="connsiteY48" fmla="*/ 1795782 h 6858000"/>
              <a:gd name="connsiteX49" fmla="*/ 8131810 w 11648080"/>
              <a:gd name="connsiteY49" fmla="*/ 619761 h 6858000"/>
              <a:gd name="connsiteX50" fmla="*/ 7927023 w 11648080"/>
              <a:gd name="connsiteY50" fmla="*/ 479920 h 6858000"/>
              <a:gd name="connsiteX51" fmla="*/ 7788060 w 11648080"/>
              <a:gd name="connsiteY51" fmla="*/ 373174 h 6858000"/>
              <a:gd name="connsiteX52" fmla="*/ 7778945 w 11648080"/>
              <a:gd name="connsiteY52" fmla="*/ 366172 h 6858000"/>
              <a:gd name="connsiteX53" fmla="*/ 7788060 w 11648080"/>
              <a:gd name="connsiteY53" fmla="*/ 373174 h 6858000"/>
              <a:gd name="connsiteX54" fmla="*/ 7780464 w 11648080"/>
              <a:gd name="connsiteY54" fmla="*/ 367450 h 6858000"/>
              <a:gd name="connsiteX55" fmla="*/ 7778945 w 11648080"/>
              <a:gd name="connsiteY55" fmla="*/ 366172 h 6858000"/>
              <a:gd name="connsiteX56" fmla="*/ 7544713 w 11648080"/>
              <a:gd name="connsiteY56" fmla="*/ 169063 h 6858000"/>
              <a:gd name="connsiteX57" fmla="*/ 7778945 w 11648080"/>
              <a:gd name="connsiteY57" fmla="*/ 366172 h 6858000"/>
              <a:gd name="connsiteX58" fmla="*/ 7732713 w 11648080"/>
              <a:gd name="connsiteY58" fmla="*/ 330658 h 6858000"/>
              <a:gd name="connsiteX59" fmla="*/ 7544713 w 11648080"/>
              <a:gd name="connsiteY59" fmla="*/ 169063 h 6858000"/>
              <a:gd name="connsiteX60" fmla="*/ 7414333 w 11648080"/>
              <a:gd name="connsiteY60" fmla="*/ 56995 h 6858000"/>
              <a:gd name="connsiteX61" fmla="*/ 7544713 w 11648080"/>
              <a:gd name="connsiteY61" fmla="*/ 169063 h 6858000"/>
              <a:gd name="connsiteX62" fmla="*/ 7454642 w 11648080"/>
              <a:gd name="connsiteY62" fmla="*/ 93267 h 6858000"/>
              <a:gd name="connsiteX63" fmla="*/ 7414333 w 11648080"/>
              <a:gd name="connsiteY63" fmla="*/ 56995 h 6858000"/>
              <a:gd name="connsiteX64" fmla="*/ 7348739 w 11648080"/>
              <a:gd name="connsiteY64" fmla="*/ 0 h 6858000"/>
              <a:gd name="connsiteX65" fmla="*/ 7350996 w 11648080"/>
              <a:gd name="connsiteY65" fmla="*/ 0 h 6858000"/>
              <a:gd name="connsiteX66" fmla="*/ 7414333 w 11648080"/>
              <a:gd name="connsiteY66" fmla="*/ 56995 h 6858000"/>
              <a:gd name="connsiteX67" fmla="*/ 7364096 w 11648080"/>
              <a:gd name="connsiteY67" fmla="*/ 13813 h 6858000"/>
              <a:gd name="connsiteX68" fmla="*/ 7348739 w 11648080"/>
              <a:gd name="connsiteY68" fmla="*/ 0 h 6858000"/>
              <a:gd name="connsiteX69" fmla="*/ 1493836 w 11648080"/>
              <a:gd name="connsiteY69" fmla="*/ 0 h 6858000"/>
              <a:gd name="connsiteX70" fmla="*/ 1493841 w 11648080"/>
              <a:gd name="connsiteY70" fmla="*/ 0 h 6858000"/>
              <a:gd name="connsiteX71" fmla="*/ 1318737 w 11648080"/>
              <a:gd name="connsiteY71" fmla="*/ 70646 h 6858000"/>
              <a:gd name="connsiteX72" fmla="*/ 1036321 w 11648080"/>
              <a:gd name="connsiteY72" fmla="*/ 194312 h 6858000"/>
              <a:gd name="connsiteX73" fmla="*/ 130672 w 11648080"/>
              <a:gd name="connsiteY73" fmla="*/ 671514 h 6858000"/>
              <a:gd name="connsiteX74" fmla="*/ 0 w 11648080"/>
              <a:gd name="connsiteY74" fmla="*/ 747683 h 6858000"/>
              <a:gd name="connsiteX75" fmla="*/ 0 w 11648080"/>
              <a:gd name="connsiteY75" fmla="*/ 747682 h 6858000"/>
              <a:gd name="connsiteX76" fmla="*/ 130672 w 11648080"/>
              <a:gd name="connsiteY76" fmla="*/ 671513 h 6858000"/>
              <a:gd name="connsiteX77" fmla="*/ 1036321 w 11648080"/>
              <a:gd name="connsiteY77" fmla="*/ 194310 h 6858000"/>
              <a:gd name="connsiteX78" fmla="*/ 1318737 w 11648080"/>
              <a:gd name="connsiteY78" fmla="*/ 70644 h 6858000"/>
              <a:gd name="connsiteX79" fmla="*/ 1493836 w 11648080"/>
              <a:gd name="connsiteY79" fmla="*/ 0 h 6858000"/>
              <a:gd name="connsiteX0" fmla="*/ 11648080 w 11648080"/>
              <a:gd name="connsiteY0" fmla="*/ 2146495 h 6858000"/>
              <a:gd name="connsiteX1" fmla="*/ 11629346 w 11648080"/>
              <a:gd name="connsiteY1" fmla="*/ 2112520 h 6858000"/>
              <a:gd name="connsiteX2" fmla="*/ 11648080 w 11648080"/>
              <a:gd name="connsiteY2" fmla="*/ 2146495 h 6858000"/>
              <a:gd name="connsiteX3" fmla="*/ 11494204 w 11648080"/>
              <a:gd name="connsiteY3" fmla="*/ 1905523 h 6858000"/>
              <a:gd name="connsiteX4" fmla="*/ 11523841 w 11648080"/>
              <a:gd name="connsiteY4" fmla="*/ 1945872 h 6858000"/>
              <a:gd name="connsiteX5" fmla="*/ 11550310 w 11648080"/>
              <a:gd name="connsiteY5" fmla="*/ 1987681 h 6858000"/>
              <a:gd name="connsiteX6" fmla="*/ 11494204 w 11648080"/>
              <a:gd name="connsiteY6" fmla="*/ 1905523 h 6858000"/>
              <a:gd name="connsiteX7" fmla="*/ 11326061 w 11648080"/>
              <a:gd name="connsiteY7" fmla="*/ 1692532 h 6858000"/>
              <a:gd name="connsiteX8" fmla="*/ 11406282 w 11648080"/>
              <a:gd name="connsiteY8" fmla="*/ 1785822 h 6858000"/>
              <a:gd name="connsiteX9" fmla="*/ 11420409 w 11648080"/>
              <a:gd name="connsiteY9" fmla="*/ 1805055 h 6858000"/>
              <a:gd name="connsiteX10" fmla="*/ 11326061 w 11648080"/>
              <a:gd name="connsiteY10" fmla="*/ 1692532 h 6858000"/>
              <a:gd name="connsiteX11" fmla="*/ 10829453 w 11648080"/>
              <a:gd name="connsiteY11" fmla="*/ 1199865 h 6858000"/>
              <a:gd name="connsiteX12" fmla="*/ 10830227 w 11648080"/>
              <a:gd name="connsiteY12" fmla="*/ 1200518 h 6858000"/>
              <a:gd name="connsiteX13" fmla="*/ 10836860 w 11648080"/>
              <a:gd name="connsiteY13" fmla="*/ 1206669 h 6858000"/>
              <a:gd name="connsiteX14" fmla="*/ 10829453 w 11648080"/>
              <a:gd name="connsiteY14" fmla="*/ 1199865 h 6858000"/>
              <a:gd name="connsiteX15" fmla="*/ 10586019 w 11648080"/>
              <a:gd name="connsiteY15" fmla="*/ 995058 h 6858000"/>
              <a:gd name="connsiteX16" fmla="*/ 10594661 w 11648080"/>
              <a:gd name="connsiteY16" fmla="*/ 1001698 h 6858000"/>
              <a:gd name="connsiteX17" fmla="*/ 10635916 w 11648080"/>
              <a:gd name="connsiteY17" fmla="*/ 1036517 h 6858000"/>
              <a:gd name="connsiteX18" fmla="*/ 10586019 w 11648080"/>
              <a:gd name="connsiteY18" fmla="*/ 995058 h 6858000"/>
              <a:gd name="connsiteX19" fmla="*/ 10333954 w 11648080"/>
              <a:gd name="connsiteY19" fmla="*/ 802539 h 6858000"/>
              <a:gd name="connsiteX20" fmla="*/ 10350933 w 11648080"/>
              <a:gd name="connsiteY20" fmla="*/ 814415 h 6858000"/>
              <a:gd name="connsiteX21" fmla="*/ 10404349 w 11648080"/>
              <a:gd name="connsiteY21" fmla="*/ 855460 h 6858000"/>
              <a:gd name="connsiteX22" fmla="*/ 10333954 w 11648080"/>
              <a:gd name="connsiteY22" fmla="*/ 802539 h 6858000"/>
              <a:gd name="connsiteX23" fmla="*/ 10157163 w 11648080"/>
              <a:gd name="connsiteY23" fmla="*/ 678888 h 6858000"/>
              <a:gd name="connsiteX24" fmla="*/ 10099498 w 11648080"/>
              <a:gd name="connsiteY24" fmla="*/ 638556 h 6858000"/>
              <a:gd name="connsiteX25" fmla="*/ 10157163 w 11648080"/>
              <a:gd name="connsiteY25" fmla="*/ 678888 h 6858000"/>
              <a:gd name="connsiteX26" fmla="*/ 5416523 w 11648080"/>
              <a:gd name="connsiteY26" fmla="*/ 392344 h 6858000"/>
              <a:gd name="connsiteX27" fmla="*/ 7023101 w 11648080"/>
              <a:gd name="connsiteY27" fmla="*/ 661672 h 6858000"/>
              <a:gd name="connsiteX28" fmla="*/ 9331960 w 11648080"/>
              <a:gd name="connsiteY28" fmla="*/ 2457451 h 6858000"/>
              <a:gd name="connsiteX29" fmla="*/ 10982484 w 11648080"/>
              <a:gd name="connsiteY29" fmla="*/ 4320382 h 6858000"/>
              <a:gd name="connsiteX30" fmla="*/ 11046723 w 11648080"/>
              <a:gd name="connsiteY30" fmla="*/ 4399855 h 6858000"/>
              <a:gd name="connsiteX31" fmla="*/ 10950686 w 11648080"/>
              <a:gd name="connsiteY31" fmla="*/ 4415959 h 6858000"/>
              <a:gd name="connsiteX32" fmla="*/ 9269729 w 11648080"/>
              <a:gd name="connsiteY32" fmla="*/ 5092699 h 6858000"/>
              <a:gd name="connsiteX33" fmla="*/ 8111807 w 11648080"/>
              <a:gd name="connsiteY33" fmla="*/ 6820535 h 6858000"/>
              <a:gd name="connsiteX34" fmla="*/ 8096827 w 11648080"/>
              <a:gd name="connsiteY34" fmla="*/ 6858000 h 6858000"/>
              <a:gd name="connsiteX35" fmla="*/ 0 w 11648080"/>
              <a:gd name="connsiteY35" fmla="*/ 6858000 h 6858000"/>
              <a:gd name="connsiteX36" fmla="*/ 0 w 11648080"/>
              <a:gd name="connsiteY36" fmla="*/ 1312476 h 6858000"/>
              <a:gd name="connsiteX37" fmla="*/ 393384 w 11648080"/>
              <a:gd name="connsiteY37" fmla="*/ 1170010 h 6858000"/>
              <a:gd name="connsiteX38" fmla="*/ 1790701 w 11648080"/>
              <a:gd name="connsiteY38" fmla="*/ 836932 h 6858000"/>
              <a:gd name="connsiteX39" fmla="*/ 5416523 w 11648080"/>
              <a:gd name="connsiteY39" fmla="*/ 392344 h 6858000"/>
              <a:gd name="connsiteX40" fmla="*/ 7788060 w 11648080"/>
              <a:gd name="connsiteY40" fmla="*/ 373174 h 6858000"/>
              <a:gd name="connsiteX41" fmla="*/ 7951989 w 11648080"/>
              <a:gd name="connsiteY41" fmla="*/ 496695 h 6858000"/>
              <a:gd name="connsiteX42" fmla="*/ 8131809 w 11648080"/>
              <a:gd name="connsiteY42" fmla="*/ 618490 h 6858000"/>
              <a:gd name="connsiteX43" fmla="*/ 10486389 w 11648080"/>
              <a:gd name="connsiteY43" fmla="*/ 1795780 h 6858000"/>
              <a:gd name="connsiteX44" fmla="*/ 10759439 w 11648080"/>
              <a:gd name="connsiteY44" fmla="*/ 1939290 h 6858000"/>
              <a:gd name="connsiteX45" fmla="*/ 11288712 w 11648080"/>
              <a:gd name="connsiteY45" fmla="*/ 2224564 h 6858000"/>
              <a:gd name="connsiteX46" fmla="*/ 11288712 w 11648080"/>
              <a:gd name="connsiteY46" fmla="*/ 2224565 h 6858000"/>
              <a:gd name="connsiteX47" fmla="*/ 10486390 w 11648080"/>
              <a:gd name="connsiteY47" fmla="*/ 1795782 h 6858000"/>
              <a:gd name="connsiteX48" fmla="*/ 8131810 w 11648080"/>
              <a:gd name="connsiteY48" fmla="*/ 619761 h 6858000"/>
              <a:gd name="connsiteX49" fmla="*/ 7927023 w 11648080"/>
              <a:gd name="connsiteY49" fmla="*/ 479920 h 6858000"/>
              <a:gd name="connsiteX50" fmla="*/ 7788060 w 11648080"/>
              <a:gd name="connsiteY50" fmla="*/ 373174 h 6858000"/>
              <a:gd name="connsiteX51" fmla="*/ 7778945 w 11648080"/>
              <a:gd name="connsiteY51" fmla="*/ 366172 h 6858000"/>
              <a:gd name="connsiteX52" fmla="*/ 7788060 w 11648080"/>
              <a:gd name="connsiteY52" fmla="*/ 373174 h 6858000"/>
              <a:gd name="connsiteX53" fmla="*/ 7780464 w 11648080"/>
              <a:gd name="connsiteY53" fmla="*/ 367450 h 6858000"/>
              <a:gd name="connsiteX54" fmla="*/ 7778945 w 11648080"/>
              <a:gd name="connsiteY54" fmla="*/ 366172 h 6858000"/>
              <a:gd name="connsiteX55" fmla="*/ 7544713 w 11648080"/>
              <a:gd name="connsiteY55" fmla="*/ 169063 h 6858000"/>
              <a:gd name="connsiteX56" fmla="*/ 7778945 w 11648080"/>
              <a:gd name="connsiteY56" fmla="*/ 366172 h 6858000"/>
              <a:gd name="connsiteX57" fmla="*/ 7732713 w 11648080"/>
              <a:gd name="connsiteY57" fmla="*/ 330658 h 6858000"/>
              <a:gd name="connsiteX58" fmla="*/ 7544713 w 11648080"/>
              <a:gd name="connsiteY58" fmla="*/ 169063 h 6858000"/>
              <a:gd name="connsiteX59" fmla="*/ 7414333 w 11648080"/>
              <a:gd name="connsiteY59" fmla="*/ 56995 h 6858000"/>
              <a:gd name="connsiteX60" fmla="*/ 7544713 w 11648080"/>
              <a:gd name="connsiteY60" fmla="*/ 169063 h 6858000"/>
              <a:gd name="connsiteX61" fmla="*/ 7454642 w 11648080"/>
              <a:gd name="connsiteY61" fmla="*/ 93267 h 6858000"/>
              <a:gd name="connsiteX62" fmla="*/ 7414333 w 11648080"/>
              <a:gd name="connsiteY62" fmla="*/ 56995 h 6858000"/>
              <a:gd name="connsiteX63" fmla="*/ 7348739 w 11648080"/>
              <a:gd name="connsiteY63" fmla="*/ 0 h 6858000"/>
              <a:gd name="connsiteX64" fmla="*/ 7350996 w 11648080"/>
              <a:gd name="connsiteY64" fmla="*/ 0 h 6858000"/>
              <a:gd name="connsiteX65" fmla="*/ 7414333 w 11648080"/>
              <a:gd name="connsiteY65" fmla="*/ 56995 h 6858000"/>
              <a:gd name="connsiteX66" fmla="*/ 7364096 w 11648080"/>
              <a:gd name="connsiteY66" fmla="*/ 13813 h 6858000"/>
              <a:gd name="connsiteX67" fmla="*/ 7348739 w 11648080"/>
              <a:gd name="connsiteY67" fmla="*/ 0 h 6858000"/>
              <a:gd name="connsiteX68" fmla="*/ 1493836 w 11648080"/>
              <a:gd name="connsiteY68" fmla="*/ 0 h 6858000"/>
              <a:gd name="connsiteX69" fmla="*/ 1493841 w 11648080"/>
              <a:gd name="connsiteY69" fmla="*/ 0 h 6858000"/>
              <a:gd name="connsiteX70" fmla="*/ 1318737 w 11648080"/>
              <a:gd name="connsiteY70" fmla="*/ 70646 h 6858000"/>
              <a:gd name="connsiteX71" fmla="*/ 1036321 w 11648080"/>
              <a:gd name="connsiteY71" fmla="*/ 194312 h 6858000"/>
              <a:gd name="connsiteX72" fmla="*/ 130672 w 11648080"/>
              <a:gd name="connsiteY72" fmla="*/ 671514 h 6858000"/>
              <a:gd name="connsiteX73" fmla="*/ 0 w 11648080"/>
              <a:gd name="connsiteY73" fmla="*/ 747683 h 6858000"/>
              <a:gd name="connsiteX74" fmla="*/ 0 w 11648080"/>
              <a:gd name="connsiteY74" fmla="*/ 747682 h 6858000"/>
              <a:gd name="connsiteX75" fmla="*/ 130672 w 11648080"/>
              <a:gd name="connsiteY75" fmla="*/ 671513 h 6858000"/>
              <a:gd name="connsiteX76" fmla="*/ 1036321 w 11648080"/>
              <a:gd name="connsiteY76" fmla="*/ 194310 h 6858000"/>
              <a:gd name="connsiteX77" fmla="*/ 1318737 w 11648080"/>
              <a:gd name="connsiteY77" fmla="*/ 70644 h 6858000"/>
              <a:gd name="connsiteX78" fmla="*/ 1493836 w 11648080"/>
              <a:gd name="connsiteY78" fmla="*/ 0 h 6858000"/>
              <a:gd name="connsiteX0" fmla="*/ 11494204 w 11550310"/>
              <a:gd name="connsiteY0" fmla="*/ 1905523 h 6858000"/>
              <a:gd name="connsiteX1" fmla="*/ 11523841 w 11550310"/>
              <a:gd name="connsiteY1" fmla="*/ 1945872 h 6858000"/>
              <a:gd name="connsiteX2" fmla="*/ 11550310 w 11550310"/>
              <a:gd name="connsiteY2" fmla="*/ 1987681 h 6858000"/>
              <a:gd name="connsiteX3" fmla="*/ 11494204 w 11550310"/>
              <a:gd name="connsiteY3" fmla="*/ 1905523 h 6858000"/>
              <a:gd name="connsiteX4" fmla="*/ 11326061 w 11550310"/>
              <a:gd name="connsiteY4" fmla="*/ 1692532 h 6858000"/>
              <a:gd name="connsiteX5" fmla="*/ 11406282 w 11550310"/>
              <a:gd name="connsiteY5" fmla="*/ 1785822 h 6858000"/>
              <a:gd name="connsiteX6" fmla="*/ 11420409 w 11550310"/>
              <a:gd name="connsiteY6" fmla="*/ 1805055 h 6858000"/>
              <a:gd name="connsiteX7" fmla="*/ 11326061 w 11550310"/>
              <a:gd name="connsiteY7" fmla="*/ 1692532 h 6858000"/>
              <a:gd name="connsiteX8" fmla="*/ 10829453 w 11550310"/>
              <a:gd name="connsiteY8" fmla="*/ 1199865 h 6858000"/>
              <a:gd name="connsiteX9" fmla="*/ 10830227 w 11550310"/>
              <a:gd name="connsiteY9" fmla="*/ 1200518 h 6858000"/>
              <a:gd name="connsiteX10" fmla="*/ 10836860 w 11550310"/>
              <a:gd name="connsiteY10" fmla="*/ 1206669 h 6858000"/>
              <a:gd name="connsiteX11" fmla="*/ 10829453 w 11550310"/>
              <a:gd name="connsiteY11" fmla="*/ 1199865 h 6858000"/>
              <a:gd name="connsiteX12" fmla="*/ 10586019 w 11550310"/>
              <a:gd name="connsiteY12" fmla="*/ 995058 h 6858000"/>
              <a:gd name="connsiteX13" fmla="*/ 10594661 w 11550310"/>
              <a:gd name="connsiteY13" fmla="*/ 1001698 h 6858000"/>
              <a:gd name="connsiteX14" fmla="*/ 10635916 w 11550310"/>
              <a:gd name="connsiteY14" fmla="*/ 1036517 h 6858000"/>
              <a:gd name="connsiteX15" fmla="*/ 10586019 w 11550310"/>
              <a:gd name="connsiteY15" fmla="*/ 995058 h 6858000"/>
              <a:gd name="connsiteX16" fmla="*/ 10333954 w 11550310"/>
              <a:gd name="connsiteY16" fmla="*/ 802539 h 6858000"/>
              <a:gd name="connsiteX17" fmla="*/ 10350933 w 11550310"/>
              <a:gd name="connsiteY17" fmla="*/ 814415 h 6858000"/>
              <a:gd name="connsiteX18" fmla="*/ 10404349 w 11550310"/>
              <a:gd name="connsiteY18" fmla="*/ 855460 h 6858000"/>
              <a:gd name="connsiteX19" fmla="*/ 10333954 w 11550310"/>
              <a:gd name="connsiteY19" fmla="*/ 802539 h 6858000"/>
              <a:gd name="connsiteX20" fmla="*/ 10157163 w 11550310"/>
              <a:gd name="connsiteY20" fmla="*/ 678888 h 6858000"/>
              <a:gd name="connsiteX21" fmla="*/ 10099498 w 11550310"/>
              <a:gd name="connsiteY21" fmla="*/ 638556 h 6858000"/>
              <a:gd name="connsiteX22" fmla="*/ 10157163 w 11550310"/>
              <a:gd name="connsiteY22" fmla="*/ 678888 h 6858000"/>
              <a:gd name="connsiteX23" fmla="*/ 5416523 w 11550310"/>
              <a:gd name="connsiteY23" fmla="*/ 392344 h 6858000"/>
              <a:gd name="connsiteX24" fmla="*/ 7023101 w 11550310"/>
              <a:gd name="connsiteY24" fmla="*/ 661672 h 6858000"/>
              <a:gd name="connsiteX25" fmla="*/ 9331960 w 11550310"/>
              <a:gd name="connsiteY25" fmla="*/ 2457451 h 6858000"/>
              <a:gd name="connsiteX26" fmla="*/ 10982484 w 11550310"/>
              <a:gd name="connsiteY26" fmla="*/ 4320382 h 6858000"/>
              <a:gd name="connsiteX27" fmla="*/ 11046723 w 11550310"/>
              <a:gd name="connsiteY27" fmla="*/ 4399855 h 6858000"/>
              <a:gd name="connsiteX28" fmla="*/ 10950686 w 11550310"/>
              <a:gd name="connsiteY28" fmla="*/ 4415959 h 6858000"/>
              <a:gd name="connsiteX29" fmla="*/ 9269729 w 11550310"/>
              <a:gd name="connsiteY29" fmla="*/ 5092699 h 6858000"/>
              <a:gd name="connsiteX30" fmla="*/ 8111807 w 11550310"/>
              <a:gd name="connsiteY30" fmla="*/ 6820535 h 6858000"/>
              <a:gd name="connsiteX31" fmla="*/ 8096827 w 11550310"/>
              <a:gd name="connsiteY31" fmla="*/ 6858000 h 6858000"/>
              <a:gd name="connsiteX32" fmla="*/ 0 w 11550310"/>
              <a:gd name="connsiteY32" fmla="*/ 6858000 h 6858000"/>
              <a:gd name="connsiteX33" fmla="*/ 0 w 11550310"/>
              <a:gd name="connsiteY33" fmla="*/ 1312476 h 6858000"/>
              <a:gd name="connsiteX34" fmla="*/ 393384 w 11550310"/>
              <a:gd name="connsiteY34" fmla="*/ 1170010 h 6858000"/>
              <a:gd name="connsiteX35" fmla="*/ 1790701 w 11550310"/>
              <a:gd name="connsiteY35" fmla="*/ 836932 h 6858000"/>
              <a:gd name="connsiteX36" fmla="*/ 5416523 w 11550310"/>
              <a:gd name="connsiteY36" fmla="*/ 392344 h 6858000"/>
              <a:gd name="connsiteX37" fmla="*/ 7788060 w 11550310"/>
              <a:gd name="connsiteY37" fmla="*/ 373174 h 6858000"/>
              <a:gd name="connsiteX38" fmla="*/ 7951989 w 11550310"/>
              <a:gd name="connsiteY38" fmla="*/ 496695 h 6858000"/>
              <a:gd name="connsiteX39" fmla="*/ 8131809 w 11550310"/>
              <a:gd name="connsiteY39" fmla="*/ 618490 h 6858000"/>
              <a:gd name="connsiteX40" fmla="*/ 10486389 w 11550310"/>
              <a:gd name="connsiteY40" fmla="*/ 1795780 h 6858000"/>
              <a:gd name="connsiteX41" fmla="*/ 10759439 w 11550310"/>
              <a:gd name="connsiteY41" fmla="*/ 1939290 h 6858000"/>
              <a:gd name="connsiteX42" fmla="*/ 11288712 w 11550310"/>
              <a:gd name="connsiteY42" fmla="*/ 2224564 h 6858000"/>
              <a:gd name="connsiteX43" fmla="*/ 11288712 w 11550310"/>
              <a:gd name="connsiteY43" fmla="*/ 2224565 h 6858000"/>
              <a:gd name="connsiteX44" fmla="*/ 10486390 w 11550310"/>
              <a:gd name="connsiteY44" fmla="*/ 1795782 h 6858000"/>
              <a:gd name="connsiteX45" fmla="*/ 8131810 w 11550310"/>
              <a:gd name="connsiteY45" fmla="*/ 619761 h 6858000"/>
              <a:gd name="connsiteX46" fmla="*/ 7927023 w 11550310"/>
              <a:gd name="connsiteY46" fmla="*/ 479920 h 6858000"/>
              <a:gd name="connsiteX47" fmla="*/ 7788060 w 11550310"/>
              <a:gd name="connsiteY47" fmla="*/ 373174 h 6858000"/>
              <a:gd name="connsiteX48" fmla="*/ 7778945 w 11550310"/>
              <a:gd name="connsiteY48" fmla="*/ 366172 h 6858000"/>
              <a:gd name="connsiteX49" fmla="*/ 7788060 w 11550310"/>
              <a:gd name="connsiteY49" fmla="*/ 373174 h 6858000"/>
              <a:gd name="connsiteX50" fmla="*/ 7780464 w 11550310"/>
              <a:gd name="connsiteY50" fmla="*/ 367450 h 6858000"/>
              <a:gd name="connsiteX51" fmla="*/ 7778945 w 11550310"/>
              <a:gd name="connsiteY51" fmla="*/ 366172 h 6858000"/>
              <a:gd name="connsiteX52" fmla="*/ 7544713 w 11550310"/>
              <a:gd name="connsiteY52" fmla="*/ 169063 h 6858000"/>
              <a:gd name="connsiteX53" fmla="*/ 7778945 w 11550310"/>
              <a:gd name="connsiteY53" fmla="*/ 366172 h 6858000"/>
              <a:gd name="connsiteX54" fmla="*/ 7732713 w 11550310"/>
              <a:gd name="connsiteY54" fmla="*/ 330658 h 6858000"/>
              <a:gd name="connsiteX55" fmla="*/ 7544713 w 11550310"/>
              <a:gd name="connsiteY55" fmla="*/ 169063 h 6858000"/>
              <a:gd name="connsiteX56" fmla="*/ 7414333 w 11550310"/>
              <a:gd name="connsiteY56" fmla="*/ 56995 h 6858000"/>
              <a:gd name="connsiteX57" fmla="*/ 7544713 w 11550310"/>
              <a:gd name="connsiteY57" fmla="*/ 169063 h 6858000"/>
              <a:gd name="connsiteX58" fmla="*/ 7454642 w 11550310"/>
              <a:gd name="connsiteY58" fmla="*/ 93267 h 6858000"/>
              <a:gd name="connsiteX59" fmla="*/ 7414333 w 11550310"/>
              <a:gd name="connsiteY59" fmla="*/ 56995 h 6858000"/>
              <a:gd name="connsiteX60" fmla="*/ 7348739 w 11550310"/>
              <a:gd name="connsiteY60" fmla="*/ 0 h 6858000"/>
              <a:gd name="connsiteX61" fmla="*/ 7350996 w 11550310"/>
              <a:gd name="connsiteY61" fmla="*/ 0 h 6858000"/>
              <a:gd name="connsiteX62" fmla="*/ 7414333 w 11550310"/>
              <a:gd name="connsiteY62" fmla="*/ 56995 h 6858000"/>
              <a:gd name="connsiteX63" fmla="*/ 7364096 w 11550310"/>
              <a:gd name="connsiteY63" fmla="*/ 13813 h 6858000"/>
              <a:gd name="connsiteX64" fmla="*/ 7348739 w 11550310"/>
              <a:gd name="connsiteY64" fmla="*/ 0 h 6858000"/>
              <a:gd name="connsiteX65" fmla="*/ 1493836 w 11550310"/>
              <a:gd name="connsiteY65" fmla="*/ 0 h 6858000"/>
              <a:gd name="connsiteX66" fmla="*/ 1493841 w 11550310"/>
              <a:gd name="connsiteY66" fmla="*/ 0 h 6858000"/>
              <a:gd name="connsiteX67" fmla="*/ 1318737 w 11550310"/>
              <a:gd name="connsiteY67" fmla="*/ 70646 h 6858000"/>
              <a:gd name="connsiteX68" fmla="*/ 1036321 w 11550310"/>
              <a:gd name="connsiteY68" fmla="*/ 194312 h 6858000"/>
              <a:gd name="connsiteX69" fmla="*/ 130672 w 11550310"/>
              <a:gd name="connsiteY69" fmla="*/ 671514 h 6858000"/>
              <a:gd name="connsiteX70" fmla="*/ 0 w 11550310"/>
              <a:gd name="connsiteY70" fmla="*/ 747683 h 6858000"/>
              <a:gd name="connsiteX71" fmla="*/ 0 w 11550310"/>
              <a:gd name="connsiteY71" fmla="*/ 747682 h 6858000"/>
              <a:gd name="connsiteX72" fmla="*/ 130672 w 11550310"/>
              <a:gd name="connsiteY72" fmla="*/ 671513 h 6858000"/>
              <a:gd name="connsiteX73" fmla="*/ 1036321 w 11550310"/>
              <a:gd name="connsiteY73" fmla="*/ 194310 h 6858000"/>
              <a:gd name="connsiteX74" fmla="*/ 1318737 w 11550310"/>
              <a:gd name="connsiteY74" fmla="*/ 70644 h 6858000"/>
              <a:gd name="connsiteX75" fmla="*/ 1493836 w 11550310"/>
              <a:gd name="connsiteY75" fmla="*/ 0 h 6858000"/>
              <a:gd name="connsiteX0" fmla="*/ 11550310 w 11550310"/>
              <a:gd name="connsiteY0" fmla="*/ 1987681 h 6858000"/>
              <a:gd name="connsiteX1" fmla="*/ 11523841 w 11550310"/>
              <a:gd name="connsiteY1" fmla="*/ 1945872 h 6858000"/>
              <a:gd name="connsiteX2" fmla="*/ 11550310 w 11550310"/>
              <a:gd name="connsiteY2" fmla="*/ 1987681 h 6858000"/>
              <a:gd name="connsiteX3" fmla="*/ 11326061 w 11550310"/>
              <a:gd name="connsiteY3" fmla="*/ 1692532 h 6858000"/>
              <a:gd name="connsiteX4" fmla="*/ 11406282 w 11550310"/>
              <a:gd name="connsiteY4" fmla="*/ 1785822 h 6858000"/>
              <a:gd name="connsiteX5" fmla="*/ 11420409 w 11550310"/>
              <a:gd name="connsiteY5" fmla="*/ 1805055 h 6858000"/>
              <a:gd name="connsiteX6" fmla="*/ 11326061 w 11550310"/>
              <a:gd name="connsiteY6" fmla="*/ 1692532 h 6858000"/>
              <a:gd name="connsiteX7" fmla="*/ 10829453 w 11550310"/>
              <a:gd name="connsiteY7" fmla="*/ 1199865 h 6858000"/>
              <a:gd name="connsiteX8" fmla="*/ 10830227 w 11550310"/>
              <a:gd name="connsiteY8" fmla="*/ 1200518 h 6858000"/>
              <a:gd name="connsiteX9" fmla="*/ 10836860 w 11550310"/>
              <a:gd name="connsiteY9" fmla="*/ 1206669 h 6858000"/>
              <a:gd name="connsiteX10" fmla="*/ 10829453 w 11550310"/>
              <a:gd name="connsiteY10" fmla="*/ 1199865 h 6858000"/>
              <a:gd name="connsiteX11" fmla="*/ 10586019 w 11550310"/>
              <a:gd name="connsiteY11" fmla="*/ 995058 h 6858000"/>
              <a:gd name="connsiteX12" fmla="*/ 10594661 w 11550310"/>
              <a:gd name="connsiteY12" fmla="*/ 1001698 h 6858000"/>
              <a:gd name="connsiteX13" fmla="*/ 10635916 w 11550310"/>
              <a:gd name="connsiteY13" fmla="*/ 1036517 h 6858000"/>
              <a:gd name="connsiteX14" fmla="*/ 10586019 w 11550310"/>
              <a:gd name="connsiteY14" fmla="*/ 995058 h 6858000"/>
              <a:gd name="connsiteX15" fmla="*/ 10333954 w 11550310"/>
              <a:gd name="connsiteY15" fmla="*/ 802539 h 6858000"/>
              <a:gd name="connsiteX16" fmla="*/ 10350933 w 11550310"/>
              <a:gd name="connsiteY16" fmla="*/ 814415 h 6858000"/>
              <a:gd name="connsiteX17" fmla="*/ 10404349 w 11550310"/>
              <a:gd name="connsiteY17" fmla="*/ 855460 h 6858000"/>
              <a:gd name="connsiteX18" fmla="*/ 10333954 w 11550310"/>
              <a:gd name="connsiteY18" fmla="*/ 802539 h 6858000"/>
              <a:gd name="connsiteX19" fmla="*/ 10157163 w 11550310"/>
              <a:gd name="connsiteY19" fmla="*/ 678888 h 6858000"/>
              <a:gd name="connsiteX20" fmla="*/ 10099498 w 11550310"/>
              <a:gd name="connsiteY20" fmla="*/ 638556 h 6858000"/>
              <a:gd name="connsiteX21" fmla="*/ 10157163 w 11550310"/>
              <a:gd name="connsiteY21" fmla="*/ 678888 h 6858000"/>
              <a:gd name="connsiteX22" fmla="*/ 5416523 w 11550310"/>
              <a:gd name="connsiteY22" fmla="*/ 392344 h 6858000"/>
              <a:gd name="connsiteX23" fmla="*/ 7023101 w 11550310"/>
              <a:gd name="connsiteY23" fmla="*/ 661672 h 6858000"/>
              <a:gd name="connsiteX24" fmla="*/ 9331960 w 11550310"/>
              <a:gd name="connsiteY24" fmla="*/ 2457451 h 6858000"/>
              <a:gd name="connsiteX25" fmla="*/ 10982484 w 11550310"/>
              <a:gd name="connsiteY25" fmla="*/ 4320382 h 6858000"/>
              <a:gd name="connsiteX26" fmla="*/ 11046723 w 11550310"/>
              <a:gd name="connsiteY26" fmla="*/ 4399855 h 6858000"/>
              <a:gd name="connsiteX27" fmla="*/ 10950686 w 11550310"/>
              <a:gd name="connsiteY27" fmla="*/ 4415959 h 6858000"/>
              <a:gd name="connsiteX28" fmla="*/ 9269729 w 11550310"/>
              <a:gd name="connsiteY28" fmla="*/ 5092699 h 6858000"/>
              <a:gd name="connsiteX29" fmla="*/ 8111807 w 11550310"/>
              <a:gd name="connsiteY29" fmla="*/ 6820535 h 6858000"/>
              <a:gd name="connsiteX30" fmla="*/ 8096827 w 11550310"/>
              <a:gd name="connsiteY30" fmla="*/ 6858000 h 6858000"/>
              <a:gd name="connsiteX31" fmla="*/ 0 w 11550310"/>
              <a:gd name="connsiteY31" fmla="*/ 6858000 h 6858000"/>
              <a:gd name="connsiteX32" fmla="*/ 0 w 11550310"/>
              <a:gd name="connsiteY32" fmla="*/ 1312476 h 6858000"/>
              <a:gd name="connsiteX33" fmla="*/ 393384 w 11550310"/>
              <a:gd name="connsiteY33" fmla="*/ 1170010 h 6858000"/>
              <a:gd name="connsiteX34" fmla="*/ 1790701 w 11550310"/>
              <a:gd name="connsiteY34" fmla="*/ 836932 h 6858000"/>
              <a:gd name="connsiteX35" fmla="*/ 5416523 w 11550310"/>
              <a:gd name="connsiteY35" fmla="*/ 392344 h 6858000"/>
              <a:gd name="connsiteX36" fmla="*/ 7788060 w 11550310"/>
              <a:gd name="connsiteY36" fmla="*/ 373174 h 6858000"/>
              <a:gd name="connsiteX37" fmla="*/ 7951989 w 11550310"/>
              <a:gd name="connsiteY37" fmla="*/ 496695 h 6858000"/>
              <a:gd name="connsiteX38" fmla="*/ 8131809 w 11550310"/>
              <a:gd name="connsiteY38" fmla="*/ 618490 h 6858000"/>
              <a:gd name="connsiteX39" fmla="*/ 10486389 w 11550310"/>
              <a:gd name="connsiteY39" fmla="*/ 1795780 h 6858000"/>
              <a:gd name="connsiteX40" fmla="*/ 10759439 w 11550310"/>
              <a:gd name="connsiteY40" fmla="*/ 1939290 h 6858000"/>
              <a:gd name="connsiteX41" fmla="*/ 11288712 w 11550310"/>
              <a:gd name="connsiteY41" fmla="*/ 2224564 h 6858000"/>
              <a:gd name="connsiteX42" fmla="*/ 11288712 w 11550310"/>
              <a:gd name="connsiteY42" fmla="*/ 2224565 h 6858000"/>
              <a:gd name="connsiteX43" fmla="*/ 10486390 w 11550310"/>
              <a:gd name="connsiteY43" fmla="*/ 1795782 h 6858000"/>
              <a:gd name="connsiteX44" fmla="*/ 8131810 w 11550310"/>
              <a:gd name="connsiteY44" fmla="*/ 619761 h 6858000"/>
              <a:gd name="connsiteX45" fmla="*/ 7927023 w 11550310"/>
              <a:gd name="connsiteY45" fmla="*/ 479920 h 6858000"/>
              <a:gd name="connsiteX46" fmla="*/ 7788060 w 11550310"/>
              <a:gd name="connsiteY46" fmla="*/ 373174 h 6858000"/>
              <a:gd name="connsiteX47" fmla="*/ 7778945 w 11550310"/>
              <a:gd name="connsiteY47" fmla="*/ 366172 h 6858000"/>
              <a:gd name="connsiteX48" fmla="*/ 7788060 w 11550310"/>
              <a:gd name="connsiteY48" fmla="*/ 373174 h 6858000"/>
              <a:gd name="connsiteX49" fmla="*/ 7780464 w 11550310"/>
              <a:gd name="connsiteY49" fmla="*/ 367450 h 6858000"/>
              <a:gd name="connsiteX50" fmla="*/ 7778945 w 11550310"/>
              <a:gd name="connsiteY50" fmla="*/ 366172 h 6858000"/>
              <a:gd name="connsiteX51" fmla="*/ 7544713 w 11550310"/>
              <a:gd name="connsiteY51" fmla="*/ 169063 h 6858000"/>
              <a:gd name="connsiteX52" fmla="*/ 7778945 w 11550310"/>
              <a:gd name="connsiteY52" fmla="*/ 366172 h 6858000"/>
              <a:gd name="connsiteX53" fmla="*/ 7732713 w 11550310"/>
              <a:gd name="connsiteY53" fmla="*/ 330658 h 6858000"/>
              <a:gd name="connsiteX54" fmla="*/ 7544713 w 11550310"/>
              <a:gd name="connsiteY54" fmla="*/ 169063 h 6858000"/>
              <a:gd name="connsiteX55" fmla="*/ 7414333 w 11550310"/>
              <a:gd name="connsiteY55" fmla="*/ 56995 h 6858000"/>
              <a:gd name="connsiteX56" fmla="*/ 7544713 w 11550310"/>
              <a:gd name="connsiteY56" fmla="*/ 169063 h 6858000"/>
              <a:gd name="connsiteX57" fmla="*/ 7454642 w 11550310"/>
              <a:gd name="connsiteY57" fmla="*/ 93267 h 6858000"/>
              <a:gd name="connsiteX58" fmla="*/ 7414333 w 11550310"/>
              <a:gd name="connsiteY58" fmla="*/ 56995 h 6858000"/>
              <a:gd name="connsiteX59" fmla="*/ 7348739 w 11550310"/>
              <a:gd name="connsiteY59" fmla="*/ 0 h 6858000"/>
              <a:gd name="connsiteX60" fmla="*/ 7350996 w 11550310"/>
              <a:gd name="connsiteY60" fmla="*/ 0 h 6858000"/>
              <a:gd name="connsiteX61" fmla="*/ 7414333 w 11550310"/>
              <a:gd name="connsiteY61" fmla="*/ 56995 h 6858000"/>
              <a:gd name="connsiteX62" fmla="*/ 7364096 w 11550310"/>
              <a:gd name="connsiteY62" fmla="*/ 13813 h 6858000"/>
              <a:gd name="connsiteX63" fmla="*/ 7348739 w 11550310"/>
              <a:gd name="connsiteY63" fmla="*/ 0 h 6858000"/>
              <a:gd name="connsiteX64" fmla="*/ 1493836 w 11550310"/>
              <a:gd name="connsiteY64" fmla="*/ 0 h 6858000"/>
              <a:gd name="connsiteX65" fmla="*/ 1493841 w 11550310"/>
              <a:gd name="connsiteY65" fmla="*/ 0 h 6858000"/>
              <a:gd name="connsiteX66" fmla="*/ 1318737 w 11550310"/>
              <a:gd name="connsiteY66" fmla="*/ 70646 h 6858000"/>
              <a:gd name="connsiteX67" fmla="*/ 1036321 w 11550310"/>
              <a:gd name="connsiteY67" fmla="*/ 194312 h 6858000"/>
              <a:gd name="connsiteX68" fmla="*/ 130672 w 11550310"/>
              <a:gd name="connsiteY68" fmla="*/ 671514 h 6858000"/>
              <a:gd name="connsiteX69" fmla="*/ 0 w 11550310"/>
              <a:gd name="connsiteY69" fmla="*/ 747683 h 6858000"/>
              <a:gd name="connsiteX70" fmla="*/ 0 w 11550310"/>
              <a:gd name="connsiteY70" fmla="*/ 747682 h 6858000"/>
              <a:gd name="connsiteX71" fmla="*/ 130672 w 11550310"/>
              <a:gd name="connsiteY71" fmla="*/ 671513 h 6858000"/>
              <a:gd name="connsiteX72" fmla="*/ 1036321 w 11550310"/>
              <a:gd name="connsiteY72" fmla="*/ 194310 h 6858000"/>
              <a:gd name="connsiteX73" fmla="*/ 1318737 w 11550310"/>
              <a:gd name="connsiteY73" fmla="*/ 70644 h 6858000"/>
              <a:gd name="connsiteX74" fmla="*/ 1493836 w 11550310"/>
              <a:gd name="connsiteY74" fmla="*/ 0 h 6858000"/>
              <a:gd name="connsiteX0" fmla="*/ 11326061 w 11420409"/>
              <a:gd name="connsiteY0" fmla="*/ 1692532 h 6858000"/>
              <a:gd name="connsiteX1" fmla="*/ 11406282 w 11420409"/>
              <a:gd name="connsiteY1" fmla="*/ 1785822 h 6858000"/>
              <a:gd name="connsiteX2" fmla="*/ 11420409 w 11420409"/>
              <a:gd name="connsiteY2" fmla="*/ 1805055 h 6858000"/>
              <a:gd name="connsiteX3" fmla="*/ 11326061 w 11420409"/>
              <a:gd name="connsiteY3" fmla="*/ 1692532 h 6858000"/>
              <a:gd name="connsiteX4" fmla="*/ 10829453 w 11420409"/>
              <a:gd name="connsiteY4" fmla="*/ 1199865 h 6858000"/>
              <a:gd name="connsiteX5" fmla="*/ 10830227 w 11420409"/>
              <a:gd name="connsiteY5" fmla="*/ 1200518 h 6858000"/>
              <a:gd name="connsiteX6" fmla="*/ 10836860 w 11420409"/>
              <a:gd name="connsiteY6" fmla="*/ 1206669 h 6858000"/>
              <a:gd name="connsiteX7" fmla="*/ 10829453 w 11420409"/>
              <a:gd name="connsiteY7" fmla="*/ 1199865 h 6858000"/>
              <a:gd name="connsiteX8" fmla="*/ 10586019 w 11420409"/>
              <a:gd name="connsiteY8" fmla="*/ 995058 h 6858000"/>
              <a:gd name="connsiteX9" fmla="*/ 10594661 w 11420409"/>
              <a:gd name="connsiteY9" fmla="*/ 1001698 h 6858000"/>
              <a:gd name="connsiteX10" fmla="*/ 10635916 w 11420409"/>
              <a:gd name="connsiteY10" fmla="*/ 1036517 h 6858000"/>
              <a:gd name="connsiteX11" fmla="*/ 10586019 w 11420409"/>
              <a:gd name="connsiteY11" fmla="*/ 995058 h 6858000"/>
              <a:gd name="connsiteX12" fmla="*/ 10333954 w 11420409"/>
              <a:gd name="connsiteY12" fmla="*/ 802539 h 6858000"/>
              <a:gd name="connsiteX13" fmla="*/ 10350933 w 11420409"/>
              <a:gd name="connsiteY13" fmla="*/ 814415 h 6858000"/>
              <a:gd name="connsiteX14" fmla="*/ 10404349 w 11420409"/>
              <a:gd name="connsiteY14" fmla="*/ 855460 h 6858000"/>
              <a:gd name="connsiteX15" fmla="*/ 10333954 w 11420409"/>
              <a:gd name="connsiteY15" fmla="*/ 802539 h 6858000"/>
              <a:gd name="connsiteX16" fmla="*/ 10157163 w 11420409"/>
              <a:gd name="connsiteY16" fmla="*/ 678888 h 6858000"/>
              <a:gd name="connsiteX17" fmla="*/ 10099498 w 11420409"/>
              <a:gd name="connsiteY17" fmla="*/ 638556 h 6858000"/>
              <a:gd name="connsiteX18" fmla="*/ 10157163 w 11420409"/>
              <a:gd name="connsiteY18" fmla="*/ 678888 h 6858000"/>
              <a:gd name="connsiteX19" fmla="*/ 5416523 w 11420409"/>
              <a:gd name="connsiteY19" fmla="*/ 392344 h 6858000"/>
              <a:gd name="connsiteX20" fmla="*/ 7023101 w 11420409"/>
              <a:gd name="connsiteY20" fmla="*/ 661672 h 6858000"/>
              <a:gd name="connsiteX21" fmla="*/ 9331960 w 11420409"/>
              <a:gd name="connsiteY21" fmla="*/ 2457451 h 6858000"/>
              <a:gd name="connsiteX22" fmla="*/ 10982484 w 11420409"/>
              <a:gd name="connsiteY22" fmla="*/ 4320382 h 6858000"/>
              <a:gd name="connsiteX23" fmla="*/ 11046723 w 11420409"/>
              <a:gd name="connsiteY23" fmla="*/ 4399855 h 6858000"/>
              <a:gd name="connsiteX24" fmla="*/ 10950686 w 11420409"/>
              <a:gd name="connsiteY24" fmla="*/ 4415959 h 6858000"/>
              <a:gd name="connsiteX25" fmla="*/ 9269729 w 11420409"/>
              <a:gd name="connsiteY25" fmla="*/ 5092699 h 6858000"/>
              <a:gd name="connsiteX26" fmla="*/ 8111807 w 11420409"/>
              <a:gd name="connsiteY26" fmla="*/ 6820535 h 6858000"/>
              <a:gd name="connsiteX27" fmla="*/ 8096827 w 11420409"/>
              <a:gd name="connsiteY27" fmla="*/ 6858000 h 6858000"/>
              <a:gd name="connsiteX28" fmla="*/ 0 w 11420409"/>
              <a:gd name="connsiteY28" fmla="*/ 6858000 h 6858000"/>
              <a:gd name="connsiteX29" fmla="*/ 0 w 11420409"/>
              <a:gd name="connsiteY29" fmla="*/ 1312476 h 6858000"/>
              <a:gd name="connsiteX30" fmla="*/ 393384 w 11420409"/>
              <a:gd name="connsiteY30" fmla="*/ 1170010 h 6858000"/>
              <a:gd name="connsiteX31" fmla="*/ 1790701 w 11420409"/>
              <a:gd name="connsiteY31" fmla="*/ 836932 h 6858000"/>
              <a:gd name="connsiteX32" fmla="*/ 5416523 w 11420409"/>
              <a:gd name="connsiteY32" fmla="*/ 392344 h 6858000"/>
              <a:gd name="connsiteX33" fmla="*/ 7788060 w 11420409"/>
              <a:gd name="connsiteY33" fmla="*/ 373174 h 6858000"/>
              <a:gd name="connsiteX34" fmla="*/ 7951989 w 11420409"/>
              <a:gd name="connsiteY34" fmla="*/ 496695 h 6858000"/>
              <a:gd name="connsiteX35" fmla="*/ 8131809 w 11420409"/>
              <a:gd name="connsiteY35" fmla="*/ 618490 h 6858000"/>
              <a:gd name="connsiteX36" fmla="*/ 10486389 w 11420409"/>
              <a:gd name="connsiteY36" fmla="*/ 1795780 h 6858000"/>
              <a:gd name="connsiteX37" fmla="*/ 10759439 w 11420409"/>
              <a:gd name="connsiteY37" fmla="*/ 1939290 h 6858000"/>
              <a:gd name="connsiteX38" fmla="*/ 11288712 w 11420409"/>
              <a:gd name="connsiteY38" fmla="*/ 2224564 h 6858000"/>
              <a:gd name="connsiteX39" fmla="*/ 11288712 w 11420409"/>
              <a:gd name="connsiteY39" fmla="*/ 2224565 h 6858000"/>
              <a:gd name="connsiteX40" fmla="*/ 10486390 w 11420409"/>
              <a:gd name="connsiteY40" fmla="*/ 1795782 h 6858000"/>
              <a:gd name="connsiteX41" fmla="*/ 8131810 w 11420409"/>
              <a:gd name="connsiteY41" fmla="*/ 619761 h 6858000"/>
              <a:gd name="connsiteX42" fmla="*/ 7927023 w 11420409"/>
              <a:gd name="connsiteY42" fmla="*/ 479920 h 6858000"/>
              <a:gd name="connsiteX43" fmla="*/ 7788060 w 11420409"/>
              <a:gd name="connsiteY43" fmla="*/ 373174 h 6858000"/>
              <a:gd name="connsiteX44" fmla="*/ 7778945 w 11420409"/>
              <a:gd name="connsiteY44" fmla="*/ 366172 h 6858000"/>
              <a:gd name="connsiteX45" fmla="*/ 7788060 w 11420409"/>
              <a:gd name="connsiteY45" fmla="*/ 373174 h 6858000"/>
              <a:gd name="connsiteX46" fmla="*/ 7780464 w 11420409"/>
              <a:gd name="connsiteY46" fmla="*/ 367450 h 6858000"/>
              <a:gd name="connsiteX47" fmla="*/ 7778945 w 11420409"/>
              <a:gd name="connsiteY47" fmla="*/ 366172 h 6858000"/>
              <a:gd name="connsiteX48" fmla="*/ 7544713 w 11420409"/>
              <a:gd name="connsiteY48" fmla="*/ 169063 h 6858000"/>
              <a:gd name="connsiteX49" fmla="*/ 7778945 w 11420409"/>
              <a:gd name="connsiteY49" fmla="*/ 366172 h 6858000"/>
              <a:gd name="connsiteX50" fmla="*/ 7732713 w 11420409"/>
              <a:gd name="connsiteY50" fmla="*/ 330658 h 6858000"/>
              <a:gd name="connsiteX51" fmla="*/ 7544713 w 11420409"/>
              <a:gd name="connsiteY51" fmla="*/ 169063 h 6858000"/>
              <a:gd name="connsiteX52" fmla="*/ 7414333 w 11420409"/>
              <a:gd name="connsiteY52" fmla="*/ 56995 h 6858000"/>
              <a:gd name="connsiteX53" fmla="*/ 7544713 w 11420409"/>
              <a:gd name="connsiteY53" fmla="*/ 169063 h 6858000"/>
              <a:gd name="connsiteX54" fmla="*/ 7454642 w 11420409"/>
              <a:gd name="connsiteY54" fmla="*/ 93267 h 6858000"/>
              <a:gd name="connsiteX55" fmla="*/ 7414333 w 11420409"/>
              <a:gd name="connsiteY55" fmla="*/ 56995 h 6858000"/>
              <a:gd name="connsiteX56" fmla="*/ 7348739 w 11420409"/>
              <a:gd name="connsiteY56" fmla="*/ 0 h 6858000"/>
              <a:gd name="connsiteX57" fmla="*/ 7350996 w 11420409"/>
              <a:gd name="connsiteY57" fmla="*/ 0 h 6858000"/>
              <a:gd name="connsiteX58" fmla="*/ 7414333 w 11420409"/>
              <a:gd name="connsiteY58" fmla="*/ 56995 h 6858000"/>
              <a:gd name="connsiteX59" fmla="*/ 7364096 w 11420409"/>
              <a:gd name="connsiteY59" fmla="*/ 13813 h 6858000"/>
              <a:gd name="connsiteX60" fmla="*/ 7348739 w 11420409"/>
              <a:gd name="connsiteY60" fmla="*/ 0 h 6858000"/>
              <a:gd name="connsiteX61" fmla="*/ 1493836 w 11420409"/>
              <a:gd name="connsiteY61" fmla="*/ 0 h 6858000"/>
              <a:gd name="connsiteX62" fmla="*/ 1493841 w 11420409"/>
              <a:gd name="connsiteY62" fmla="*/ 0 h 6858000"/>
              <a:gd name="connsiteX63" fmla="*/ 1318737 w 11420409"/>
              <a:gd name="connsiteY63" fmla="*/ 70646 h 6858000"/>
              <a:gd name="connsiteX64" fmla="*/ 1036321 w 11420409"/>
              <a:gd name="connsiteY64" fmla="*/ 194312 h 6858000"/>
              <a:gd name="connsiteX65" fmla="*/ 130672 w 11420409"/>
              <a:gd name="connsiteY65" fmla="*/ 671514 h 6858000"/>
              <a:gd name="connsiteX66" fmla="*/ 0 w 11420409"/>
              <a:gd name="connsiteY66" fmla="*/ 747683 h 6858000"/>
              <a:gd name="connsiteX67" fmla="*/ 0 w 11420409"/>
              <a:gd name="connsiteY67" fmla="*/ 747682 h 6858000"/>
              <a:gd name="connsiteX68" fmla="*/ 130672 w 11420409"/>
              <a:gd name="connsiteY68" fmla="*/ 671513 h 6858000"/>
              <a:gd name="connsiteX69" fmla="*/ 1036321 w 11420409"/>
              <a:gd name="connsiteY69" fmla="*/ 194310 h 6858000"/>
              <a:gd name="connsiteX70" fmla="*/ 1318737 w 11420409"/>
              <a:gd name="connsiteY70" fmla="*/ 70644 h 6858000"/>
              <a:gd name="connsiteX71" fmla="*/ 1493836 w 11420409"/>
              <a:gd name="connsiteY71" fmla="*/ 0 h 6858000"/>
              <a:gd name="connsiteX0" fmla="*/ 11326061 w 11420409"/>
              <a:gd name="connsiteY0" fmla="*/ 1692532 h 6858000"/>
              <a:gd name="connsiteX1" fmla="*/ 11406282 w 11420409"/>
              <a:gd name="connsiteY1" fmla="*/ 1785822 h 6858000"/>
              <a:gd name="connsiteX2" fmla="*/ 11420409 w 11420409"/>
              <a:gd name="connsiteY2" fmla="*/ 1805055 h 6858000"/>
              <a:gd name="connsiteX3" fmla="*/ 11326061 w 11420409"/>
              <a:gd name="connsiteY3" fmla="*/ 1692532 h 6858000"/>
              <a:gd name="connsiteX4" fmla="*/ 10829453 w 11420409"/>
              <a:gd name="connsiteY4" fmla="*/ 1199865 h 6858000"/>
              <a:gd name="connsiteX5" fmla="*/ 10830227 w 11420409"/>
              <a:gd name="connsiteY5" fmla="*/ 1200518 h 6858000"/>
              <a:gd name="connsiteX6" fmla="*/ 10836860 w 11420409"/>
              <a:gd name="connsiteY6" fmla="*/ 1206669 h 6858000"/>
              <a:gd name="connsiteX7" fmla="*/ 10829453 w 11420409"/>
              <a:gd name="connsiteY7" fmla="*/ 1199865 h 6858000"/>
              <a:gd name="connsiteX8" fmla="*/ 10586019 w 11420409"/>
              <a:gd name="connsiteY8" fmla="*/ 995058 h 6858000"/>
              <a:gd name="connsiteX9" fmla="*/ 10594661 w 11420409"/>
              <a:gd name="connsiteY9" fmla="*/ 1001698 h 6858000"/>
              <a:gd name="connsiteX10" fmla="*/ 10635916 w 11420409"/>
              <a:gd name="connsiteY10" fmla="*/ 1036517 h 6858000"/>
              <a:gd name="connsiteX11" fmla="*/ 10586019 w 11420409"/>
              <a:gd name="connsiteY11" fmla="*/ 995058 h 6858000"/>
              <a:gd name="connsiteX12" fmla="*/ 10333954 w 11420409"/>
              <a:gd name="connsiteY12" fmla="*/ 802539 h 6858000"/>
              <a:gd name="connsiteX13" fmla="*/ 10350933 w 11420409"/>
              <a:gd name="connsiteY13" fmla="*/ 814415 h 6858000"/>
              <a:gd name="connsiteX14" fmla="*/ 10404349 w 11420409"/>
              <a:gd name="connsiteY14" fmla="*/ 855460 h 6858000"/>
              <a:gd name="connsiteX15" fmla="*/ 10333954 w 11420409"/>
              <a:gd name="connsiteY15" fmla="*/ 802539 h 6858000"/>
              <a:gd name="connsiteX16" fmla="*/ 10157163 w 11420409"/>
              <a:gd name="connsiteY16" fmla="*/ 678888 h 6858000"/>
              <a:gd name="connsiteX17" fmla="*/ 10099498 w 11420409"/>
              <a:gd name="connsiteY17" fmla="*/ 638556 h 6858000"/>
              <a:gd name="connsiteX18" fmla="*/ 10157163 w 11420409"/>
              <a:gd name="connsiteY18" fmla="*/ 678888 h 6858000"/>
              <a:gd name="connsiteX19" fmla="*/ 5416523 w 11420409"/>
              <a:gd name="connsiteY19" fmla="*/ 392344 h 6858000"/>
              <a:gd name="connsiteX20" fmla="*/ 7023101 w 11420409"/>
              <a:gd name="connsiteY20" fmla="*/ 661672 h 6858000"/>
              <a:gd name="connsiteX21" fmla="*/ 9331960 w 11420409"/>
              <a:gd name="connsiteY21" fmla="*/ 2457451 h 6858000"/>
              <a:gd name="connsiteX22" fmla="*/ 10982484 w 11420409"/>
              <a:gd name="connsiteY22" fmla="*/ 4320382 h 6858000"/>
              <a:gd name="connsiteX23" fmla="*/ 11046723 w 11420409"/>
              <a:gd name="connsiteY23" fmla="*/ 4399855 h 6858000"/>
              <a:gd name="connsiteX24" fmla="*/ 10950686 w 11420409"/>
              <a:gd name="connsiteY24" fmla="*/ 4415959 h 6858000"/>
              <a:gd name="connsiteX25" fmla="*/ 9269729 w 11420409"/>
              <a:gd name="connsiteY25" fmla="*/ 5092699 h 6858000"/>
              <a:gd name="connsiteX26" fmla="*/ 8111807 w 11420409"/>
              <a:gd name="connsiteY26" fmla="*/ 6820535 h 6858000"/>
              <a:gd name="connsiteX27" fmla="*/ 8096827 w 11420409"/>
              <a:gd name="connsiteY27" fmla="*/ 6858000 h 6858000"/>
              <a:gd name="connsiteX28" fmla="*/ 0 w 11420409"/>
              <a:gd name="connsiteY28" fmla="*/ 6858000 h 6858000"/>
              <a:gd name="connsiteX29" fmla="*/ 0 w 11420409"/>
              <a:gd name="connsiteY29" fmla="*/ 1312476 h 6858000"/>
              <a:gd name="connsiteX30" fmla="*/ 393384 w 11420409"/>
              <a:gd name="connsiteY30" fmla="*/ 1170010 h 6858000"/>
              <a:gd name="connsiteX31" fmla="*/ 1790701 w 11420409"/>
              <a:gd name="connsiteY31" fmla="*/ 836932 h 6858000"/>
              <a:gd name="connsiteX32" fmla="*/ 5416523 w 11420409"/>
              <a:gd name="connsiteY32" fmla="*/ 392344 h 6858000"/>
              <a:gd name="connsiteX33" fmla="*/ 7788060 w 11420409"/>
              <a:gd name="connsiteY33" fmla="*/ 373174 h 6858000"/>
              <a:gd name="connsiteX34" fmla="*/ 7951989 w 11420409"/>
              <a:gd name="connsiteY34" fmla="*/ 496695 h 6858000"/>
              <a:gd name="connsiteX35" fmla="*/ 8131809 w 11420409"/>
              <a:gd name="connsiteY35" fmla="*/ 618490 h 6858000"/>
              <a:gd name="connsiteX36" fmla="*/ 10486389 w 11420409"/>
              <a:gd name="connsiteY36" fmla="*/ 1795780 h 6858000"/>
              <a:gd name="connsiteX37" fmla="*/ 10759439 w 11420409"/>
              <a:gd name="connsiteY37" fmla="*/ 1939290 h 6858000"/>
              <a:gd name="connsiteX38" fmla="*/ 11288712 w 11420409"/>
              <a:gd name="connsiteY38" fmla="*/ 2224564 h 6858000"/>
              <a:gd name="connsiteX39" fmla="*/ 10486390 w 11420409"/>
              <a:gd name="connsiteY39" fmla="*/ 1795782 h 6858000"/>
              <a:gd name="connsiteX40" fmla="*/ 8131810 w 11420409"/>
              <a:gd name="connsiteY40" fmla="*/ 619761 h 6858000"/>
              <a:gd name="connsiteX41" fmla="*/ 7927023 w 11420409"/>
              <a:gd name="connsiteY41" fmla="*/ 479920 h 6858000"/>
              <a:gd name="connsiteX42" fmla="*/ 7788060 w 11420409"/>
              <a:gd name="connsiteY42" fmla="*/ 373174 h 6858000"/>
              <a:gd name="connsiteX43" fmla="*/ 7778945 w 11420409"/>
              <a:gd name="connsiteY43" fmla="*/ 366172 h 6858000"/>
              <a:gd name="connsiteX44" fmla="*/ 7788060 w 11420409"/>
              <a:gd name="connsiteY44" fmla="*/ 373174 h 6858000"/>
              <a:gd name="connsiteX45" fmla="*/ 7780464 w 11420409"/>
              <a:gd name="connsiteY45" fmla="*/ 367450 h 6858000"/>
              <a:gd name="connsiteX46" fmla="*/ 7778945 w 11420409"/>
              <a:gd name="connsiteY46" fmla="*/ 366172 h 6858000"/>
              <a:gd name="connsiteX47" fmla="*/ 7544713 w 11420409"/>
              <a:gd name="connsiteY47" fmla="*/ 169063 h 6858000"/>
              <a:gd name="connsiteX48" fmla="*/ 7778945 w 11420409"/>
              <a:gd name="connsiteY48" fmla="*/ 366172 h 6858000"/>
              <a:gd name="connsiteX49" fmla="*/ 7732713 w 11420409"/>
              <a:gd name="connsiteY49" fmla="*/ 330658 h 6858000"/>
              <a:gd name="connsiteX50" fmla="*/ 7544713 w 11420409"/>
              <a:gd name="connsiteY50" fmla="*/ 169063 h 6858000"/>
              <a:gd name="connsiteX51" fmla="*/ 7414333 w 11420409"/>
              <a:gd name="connsiteY51" fmla="*/ 56995 h 6858000"/>
              <a:gd name="connsiteX52" fmla="*/ 7544713 w 11420409"/>
              <a:gd name="connsiteY52" fmla="*/ 169063 h 6858000"/>
              <a:gd name="connsiteX53" fmla="*/ 7454642 w 11420409"/>
              <a:gd name="connsiteY53" fmla="*/ 93267 h 6858000"/>
              <a:gd name="connsiteX54" fmla="*/ 7414333 w 11420409"/>
              <a:gd name="connsiteY54" fmla="*/ 56995 h 6858000"/>
              <a:gd name="connsiteX55" fmla="*/ 7348739 w 11420409"/>
              <a:gd name="connsiteY55" fmla="*/ 0 h 6858000"/>
              <a:gd name="connsiteX56" fmla="*/ 7350996 w 11420409"/>
              <a:gd name="connsiteY56" fmla="*/ 0 h 6858000"/>
              <a:gd name="connsiteX57" fmla="*/ 7414333 w 11420409"/>
              <a:gd name="connsiteY57" fmla="*/ 56995 h 6858000"/>
              <a:gd name="connsiteX58" fmla="*/ 7364096 w 11420409"/>
              <a:gd name="connsiteY58" fmla="*/ 13813 h 6858000"/>
              <a:gd name="connsiteX59" fmla="*/ 7348739 w 11420409"/>
              <a:gd name="connsiteY59" fmla="*/ 0 h 6858000"/>
              <a:gd name="connsiteX60" fmla="*/ 1493836 w 11420409"/>
              <a:gd name="connsiteY60" fmla="*/ 0 h 6858000"/>
              <a:gd name="connsiteX61" fmla="*/ 1493841 w 11420409"/>
              <a:gd name="connsiteY61" fmla="*/ 0 h 6858000"/>
              <a:gd name="connsiteX62" fmla="*/ 1318737 w 11420409"/>
              <a:gd name="connsiteY62" fmla="*/ 70646 h 6858000"/>
              <a:gd name="connsiteX63" fmla="*/ 1036321 w 11420409"/>
              <a:gd name="connsiteY63" fmla="*/ 194312 h 6858000"/>
              <a:gd name="connsiteX64" fmla="*/ 130672 w 11420409"/>
              <a:gd name="connsiteY64" fmla="*/ 671514 h 6858000"/>
              <a:gd name="connsiteX65" fmla="*/ 0 w 11420409"/>
              <a:gd name="connsiteY65" fmla="*/ 747683 h 6858000"/>
              <a:gd name="connsiteX66" fmla="*/ 0 w 11420409"/>
              <a:gd name="connsiteY66" fmla="*/ 747682 h 6858000"/>
              <a:gd name="connsiteX67" fmla="*/ 130672 w 11420409"/>
              <a:gd name="connsiteY67" fmla="*/ 671513 h 6858000"/>
              <a:gd name="connsiteX68" fmla="*/ 1036321 w 11420409"/>
              <a:gd name="connsiteY68" fmla="*/ 194310 h 6858000"/>
              <a:gd name="connsiteX69" fmla="*/ 1318737 w 11420409"/>
              <a:gd name="connsiteY69" fmla="*/ 70644 h 6858000"/>
              <a:gd name="connsiteX70" fmla="*/ 1493836 w 11420409"/>
              <a:gd name="connsiteY70" fmla="*/ 0 h 6858000"/>
              <a:gd name="connsiteX0" fmla="*/ 11326061 w 11420409"/>
              <a:gd name="connsiteY0" fmla="*/ 1692532 h 6858000"/>
              <a:gd name="connsiteX1" fmla="*/ 11406282 w 11420409"/>
              <a:gd name="connsiteY1" fmla="*/ 1785822 h 6858000"/>
              <a:gd name="connsiteX2" fmla="*/ 11420409 w 11420409"/>
              <a:gd name="connsiteY2" fmla="*/ 1805055 h 6858000"/>
              <a:gd name="connsiteX3" fmla="*/ 11326061 w 11420409"/>
              <a:gd name="connsiteY3" fmla="*/ 1692532 h 6858000"/>
              <a:gd name="connsiteX4" fmla="*/ 10829453 w 11420409"/>
              <a:gd name="connsiteY4" fmla="*/ 1199865 h 6858000"/>
              <a:gd name="connsiteX5" fmla="*/ 10830227 w 11420409"/>
              <a:gd name="connsiteY5" fmla="*/ 1200518 h 6858000"/>
              <a:gd name="connsiteX6" fmla="*/ 10836860 w 11420409"/>
              <a:gd name="connsiteY6" fmla="*/ 1206669 h 6858000"/>
              <a:gd name="connsiteX7" fmla="*/ 10829453 w 11420409"/>
              <a:gd name="connsiteY7" fmla="*/ 1199865 h 6858000"/>
              <a:gd name="connsiteX8" fmla="*/ 10586019 w 11420409"/>
              <a:gd name="connsiteY8" fmla="*/ 995058 h 6858000"/>
              <a:gd name="connsiteX9" fmla="*/ 10594661 w 11420409"/>
              <a:gd name="connsiteY9" fmla="*/ 1001698 h 6858000"/>
              <a:gd name="connsiteX10" fmla="*/ 10635916 w 11420409"/>
              <a:gd name="connsiteY10" fmla="*/ 1036517 h 6858000"/>
              <a:gd name="connsiteX11" fmla="*/ 10586019 w 11420409"/>
              <a:gd name="connsiteY11" fmla="*/ 995058 h 6858000"/>
              <a:gd name="connsiteX12" fmla="*/ 10333954 w 11420409"/>
              <a:gd name="connsiteY12" fmla="*/ 802539 h 6858000"/>
              <a:gd name="connsiteX13" fmla="*/ 10350933 w 11420409"/>
              <a:gd name="connsiteY13" fmla="*/ 814415 h 6858000"/>
              <a:gd name="connsiteX14" fmla="*/ 10404349 w 11420409"/>
              <a:gd name="connsiteY14" fmla="*/ 855460 h 6858000"/>
              <a:gd name="connsiteX15" fmla="*/ 10333954 w 11420409"/>
              <a:gd name="connsiteY15" fmla="*/ 802539 h 6858000"/>
              <a:gd name="connsiteX16" fmla="*/ 10157163 w 11420409"/>
              <a:gd name="connsiteY16" fmla="*/ 678888 h 6858000"/>
              <a:gd name="connsiteX17" fmla="*/ 10099498 w 11420409"/>
              <a:gd name="connsiteY17" fmla="*/ 638556 h 6858000"/>
              <a:gd name="connsiteX18" fmla="*/ 10157163 w 11420409"/>
              <a:gd name="connsiteY18" fmla="*/ 678888 h 6858000"/>
              <a:gd name="connsiteX19" fmla="*/ 5416523 w 11420409"/>
              <a:gd name="connsiteY19" fmla="*/ 392344 h 6858000"/>
              <a:gd name="connsiteX20" fmla="*/ 7023101 w 11420409"/>
              <a:gd name="connsiteY20" fmla="*/ 661672 h 6858000"/>
              <a:gd name="connsiteX21" fmla="*/ 9331960 w 11420409"/>
              <a:gd name="connsiteY21" fmla="*/ 2457451 h 6858000"/>
              <a:gd name="connsiteX22" fmla="*/ 10982484 w 11420409"/>
              <a:gd name="connsiteY22" fmla="*/ 4320382 h 6858000"/>
              <a:gd name="connsiteX23" fmla="*/ 11046723 w 11420409"/>
              <a:gd name="connsiteY23" fmla="*/ 4399855 h 6858000"/>
              <a:gd name="connsiteX24" fmla="*/ 10950686 w 11420409"/>
              <a:gd name="connsiteY24" fmla="*/ 4415959 h 6858000"/>
              <a:gd name="connsiteX25" fmla="*/ 9269729 w 11420409"/>
              <a:gd name="connsiteY25" fmla="*/ 5092699 h 6858000"/>
              <a:gd name="connsiteX26" fmla="*/ 8111807 w 11420409"/>
              <a:gd name="connsiteY26" fmla="*/ 6820535 h 6858000"/>
              <a:gd name="connsiteX27" fmla="*/ 8096827 w 11420409"/>
              <a:gd name="connsiteY27" fmla="*/ 6858000 h 6858000"/>
              <a:gd name="connsiteX28" fmla="*/ 0 w 11420409"/>
              <a:gd name="connsiteY28" fmla="*/ 6858000 h 6858000"/>
              <a:gd name="connsiteX29" fmla="*/ 0 w 11420409"/>
              <a:gd name="connsiteY29" fmla="*/ 1312476 h 6858000"/>
              <a:gd name="connsiteX30" fmla="*/ 393384 w 11420409"/>
              <a:gd name="connsiteY30" fmla="*/ 1170010 h 6858000"/>
              <a:gd name="connsiteX31" fmla="*/ 1790701 w 11420409"/>
              <a:gd name="connsiteY31" fmla="*/ 836932 h 6858000"/>
              <a:gd name="connsiteX32" fmla="*/ 5416523 w 11420409"/>
              <a:gd name="connsiteY32" fmla="*/ 392344 h 6858000"/>
              <a:gd name="connsiteX33" fmla="*/ 7788060 w 11420409"/>
              <a:gd name="connsiteY33" fmla="*/ 373174 h 6858000"/>
              <a:gd name="connsiteX34" fmla="*/ 7951989 w 11420409"/>
              <a:gd name="connsiteY34" fmla="*/ 496695 h 6858000"/>
              <a:gd name="connsiteX35" fmla="*/ 8131809 w 11420409"/>
              <a:gd name="connsiteY35" fmla="*/ 618490 h 6858000"/>
              <a:gd name="connsiteX36" fmla="*/ 10486389 w 11420409"/>
              <a:gd name="connsiteY36" fmla="*/ 1795780 h 6858000"/>
              <a:gd name="connsiteX37" fmla="*/ 10759439 w 11420409"/>
              <a:gd name="connsiteY37" fmla="*/ 1939290 h 6858000"/>
              <a:gd name="connsiteX38" fmla="*/ 10486390 w 11420409"/>
              <a:gd name="connsiteY38" fmla="*/ 1795782 h 6858000"/>
              <a:gd name="connsiteX39" fmla="*/ 8131810 w 11420409"/>
              <a:gd name="connsiteY39" fmla="*/ 619761 h 6858000"/>
              <a:gd name="connsiteX40" fmla="*/ 7927023 w 11420409"/>
              <a:gd name="connsiteY40" fmla="*/ 479920 h 6858000"/>
              <a:gd name="connsiteX41" fmla="*/ 7788060 w 11420409"/>
              <a:gd name="connsiteY41" fmla="*/ 373174 h 6858000"/>
              <a:gd name="connsiteX42" fmla="*/ 7778945 w 11420409"/>
              <a:gd name="connsiteY42" fmla="*/ 366172 h 6858000"/>
              <a:gd name="connsiteX43" fmla="*/ 7788060 w 11420409"/>
              <a:gd name="connsiteY43" fmla="*/ 373174 h 6858000"/>
              <a:gd name="connsiteX44" fmla="*/ 7780464 w 11420409"/>
              <a:gd name="connsiteY44" fmla="*/ 367450 h 6858000"/>
              <a:gd name="connsiteX45" fmla="*/ 7778945 w 11420409"/>
              <a:gd name="connsiteY45" fmla="*/ 366172 h 6858000"/>
              <a:gd name="connsiteX46" fmla="*/ 7544713 w 11420409"/>
              <a:gd name="connsiteY46" fmla="*/ 169063 h 6858000"/>
              <a:gd name="connsiteX47" fmla="*/ 7778945 w 11420409"/>
              <a:gd name="connsiteY47" fmla="*/ 366172 h 6858000"/>
              <a:gd name="connsiteX48" fmla="*/ 7732713 w 11420409"/>
              <a:gd name="connsiteY48" fmla="*/ 330658 h 6858000"/>
              <a:gd name="connsiteX49" fmla="*/ 7544713 w 11420409"/>
              <a:gd name="connsiteY49" fmla="*/ 169063 h 6858000"/>
              <a:gd name="connsiteX50" fmla="*/ 7414333 w 11420409"/>
              <a:gd name="connsiteY50" fmla="*/ 56995 h 6858000"/>
              <a:gd name="connsiteX51" fmla="*/ 7544713 w 11420409"/>
              <a:gd name="connsiteY51" fmla="*/ 169063 h 6858000"/>
              <a:gd name="connsiteX52" fmla="*/ 7454642 w 11420409"/>
              <a:gd name="connsiteY52" fmla="*/ 93267 h 6858000"/>
              <a:gd name="connsiteX53" fmla="*/ 7414333 w 11420409"/>
              <a:gd name="connsiteY53" fmla="*/ 56995 h 6858000"/>
              <a:gd name="connsiteX54" fmla="*/ 7348739 w 11420409"/>
              <a:gd name="connsiteY54" fmla="*/ 0 h 6858000"/>
              <a:gd name="connsiteX55" fmla="*/ 7350996 w 11420409"/>
              <a:gd name="connsiteY55" fmla="*/ 0 h 6858000"/>
              <a:gd name="connsiteX56" fmla="*/ 7414333 w 11420409"/>
              <a:gd name="connsiteY56" fmla="*/ 56995 h 6858000"/>
              <a:gd name="connsiteX57" fmla="*/ 7364096 w 11420409"/>
              <a:gd name="connsiteY57" fmla="*/ 13813 h 6858000"/>
              <a:gd name="connsiteX58" fmla="*/ 7348739 w 11420409"/>
              <a:gd name="connsiteY58" fmla="*/ 0 h 6858000"/>
              <a:gd name="connsiteX59" fmla="*/ 1493836 w 11420409"/>
              <a:gd name="connsiteY59" fmla="*/ 0 h 6858000"/>
              <a:gd name="connsiteX60" fmla="*/ 1493841 w 11420409"/>
              <a:gd name="connsiteY60" fmla="*/ 0 h 6858000"/>
              <a:gd name="connsiteX61" fmla="*/ 1318737 w 11420409"/>
              <a:gd name="connsiteY61" fmla="*/ 70646 h 6858000"/>
              <a:gd name="connsiteX62" fmla="*/ 1036321 w 11420409"/>
              <a:gd name="connsiteY62" fmla="*/ 194312 h 6858000"/>
              <a:gd name="connsiteX63" fmla="*/ 130672 w 11420409"/>
              <a:gd name="connsiteY63" fmla="*/ 671514 h 6858000"/>
              <a:gd name="connsiteX64" fmla="*/ 0 w 11420409"/>
              <a:gd name="connsiteY64" fmla="*/ 747683 h 6858000"/>
              <a:gd name="connsiteX65" fmla="*/ 0 w 11420409"/>
              <a:gd name="connsiteY65" fmla="*/ 747682 h 6858000"/>
              <a:gd name="connsiteX66" fmla="*/ 130672 w 11420409"/>
              <a:gd name="connsiteY66" fmla="*/ 671513 h 6858000"/>
              <a:gd name="connsiteX67" fmla="*/ 1036321 w 11420409"/>
              <a:gd name="connsiteY67" fmla="*/ 194310 h 6858000"/>
              <a:gd name="connsiteX68" fmla="*/ 1318737 w 11420409"/>
              <a:gd name="connsiteY68" fmla="*/ 70644 h 6858000"/>
              <a:gd name="connsiteX69" fmla="*/ 1493836 w 11420409"/>
              <a:gd name="connsiteY69" fmla="*/ 0 h 6858000"/>
              <a:gd name="connsiteX0" fmla="*/ 11326061 w 11420409"/>
              <a:gd name="connsiteY0" fmla="*/ 1692532 h 6858000"/>
              <a:gd name="connsiteX1" fmla="*/ 11406282 w 11420409"/>
              <a:gd name="connsiteY1" fmla="*/ 1785822 h 6858000"/>
              <a:gd name="connsiteX2" fmla="*/ 11420409 w 11420409"/>
              <a:gd name="connsiteY2" fmla="*/ 1805055 h 6858000"/>
              <a:gd name="connsiteX3" fmla="*/ 11326061 w 11420409"/>
              <a:gd name="connsiteY3" fmla="*/ 1692532 h 6858000"/>
              <a:gd name="connsiteX4" fmla="*/ 10829453 w 11420409"/>
              <a:gd name="connsiteY4" fmla="*/ 1199865 h 6858000"/>
              <a:gd name="connsiteX5" fmla="*/ 10830227 w 11420409"/>
              <a:gd name="connsiteY5" fmla="*/ 1200518 h 6858000"/>
              <a:gd name="connsiteX6" fmla="*/ 10836860 w 11420409"/>
              <a:gd name="connsiteY6" fmla="*/ 1206669 h 6858000"/>
              <a:gd name="connsiteX7" fmla="*/ 10829453 w 11420409"/>
              <a:gd name="connsiteY7" fmla="*/ 1199865 h 6858000"/>
              <a:gd name="connsiteX8" fmla="*/ 10586019 w 11420409"/>
              <a:gd name="connsiteY8" fmla="*/ 995058 h 6858000"/>
              <a:gd name="connsiteX9" fmla="*/ 10594661 w 11420409"/>
              <a:gd name="connsiteY9" fmla="*/ 1001698 h 6858000"/>
              <a:gd name="connsiteX10" fmla="*/ 10635916 w 11420409"/>
              <a:gd name="connsiteY10" fmla="*/ 1036517 h 6858000"/>
              <a:gd name="connsiteX11" fmla="*/ 10586019 w 11420409"/>
              <a:gd name="connsiteY11" fmla="*/ 995058 h 6858000"/>
              <a:gd name="connsiteX12" fmla="*/ 10333954 w 11420409"/>
              <a:gd name="connsiteY12" fmla="*/ 802539 h 6858000"/>
              <a:gd name="connsiteX13" fmla="*/ 10350933 w 11420409"/>
              <a:gd name="connsiteY13" fmla="*/ 814415 h 6858000"/>
              <a:gd name="connsiteX14" fmla="*/ 10404349 w 11420409"/>
              <a:gd name="connsiteY14" fmla="*/ 855460 h 6858000"/>
              <a:gd name="connsiteX15" fmla="*/ 10333954 w 11420409"/>
              <a:gd name="connsiteY15" fmla="*/ 802539 h 6858000"/>
              <a:gd name="connsiteX16" fmla="*/ 10157163 w 11420409"/>
              <a:gd name="connsiteY16" fmla="*/ 678888 h 6858000"/>
              <a:gd name="connsiteX17" fmla="*/ 10099498 w 11420409"/>
              <a:gd name="connsiteY17" fmla="*/ 638556 h 6858000"/>
              <a:gd name="connsiteX18" fmla="*/ 10157163 w 11420409"/>
              <a:gd name="connsiteY18" fmla="*/ 678888 h 6858000"/>
              <a:gd name="connsiteX19" fmla="*/ 5416523 w 11420409"/>
              <a:gd name="connsiteY19" fmla="*/ 392344 h 6858000"/>
              <a:gd name="connsiteX20" fmla="*/ 7023101 w 11420409"/>
              <a:gd name="connsiteY20" fmla="*/ 661672 h 6858000"/>
              <a:gd name="connsiteX21" fmla="*/ 9331960 w 11420409"/>
              <a:gd name="connsiteY21" fmla="*/ 2457451 h 6858000"/>
              <a:gd name="connsiteX22" fmla="*/ 10982484 w 11420409"/>
              <a:gd name="connsiteY22" fmla="*/ 4320382 h 6858000"/>
              <a:gd name="connsiteX23" fmla="*/ 11046723 w 11420409"/>
              <a:gd name="connsiteY23" fmla="*/ 4399855 h 6858000"/>
              <a:gd name="connsiteX24" fmla="*/ 10950686 w 11420409"/>
              <a:gd name="connsiteY24" fmla="*/ 4415959 h 6858000"/>
              <a:gd name="connsiteX25" fmla="*/ 9269729 w 11420409"/>
              <a:gd name="connsiteY25" fmla="*/ 5092699 h 6858000"/>
              <a:gd name="connsiteX26" fmla="*/ 8111807 w 11420409"/>
              <a:gd name="connsiteY26" fmla="*/ 6820535 h 6858000"/>
              <a:gd name="connsiteX27" fmla="*/ 8096827 w 11420409"/>
              <a:gd name="connsiteY27" fmla="*/ 6858000 h 6858000"/>
              <a:gd name="connsiteX28" fmla="*/ 0 w 11420409"/>
              <a:gd name="connsiteY28" fmla="*/ 6858000 h 6858000"/>
              <a:gd name="connsiteX29" fmla="*/ 0 w 11420409"/>
              <a:gd name="connsiteY29" fmla="*/ 1312476 h 6858000"/>
              <a:gd name="connsiteX30" fmla="*/ 393384 w 11420409"/>
              <a:gd name="connsiteY30" fmla="*/ 1170010 h 6858000"/>
              <a:gd name="connsiteX31" fmla="*/ 1790701 w 11420409"/>
              <a:gd name="connsiteY31" fmla="*/ 836932 h 6858000"/>
              <a:gd name="connsiteX32" fmla="*/ 5416523 w 11420409"/>
              <a:gd name="connsiteY32" fmla="*/ 392344 h 6858000"/>
              <a:gd name="connsiteX33" fmla="*/ 7788060 w 11420409"/>
              <a:gd name="connsiteY33" fmla="*/ 373174 h 6858000"/>
              <a:gd name="connsiteX34" fmla="*/ 7951989 w 11420409"/>
              <a:gd name="connsiteY34" fmla="*/ 496695 h 6858000"/>
              <a:gd name="connsiteX35" fmla="*/ 8131809 w 11420409"/>
              <a:gd name="connsiteY35" fmla="*/ 618490 h 6858000"/>
              <a:gd name="connsiteX36" fmla="*/ 10486389 w 11420409"/>
              <a:gd name="connsiteY36" fmla="*/ 1795780 h 6858000"/>
              <a:gd name="connsiteX37" fmla="*/ 10486390 w 11420409"/>
              <a:gd name="connsiteY37" fmla="*/ 1795782 h 6858000"/>
              <a:gd name="connsiteX38" fmla="*/ 8131810 w 11420409"/>
              <a:gd name="connsiteY38" fmla="*/ 619761 h 6858000"/>
              <a:gd name="connsiteX39" fmla="*/ 7927023 w 11420409"/>
              <a:gd name="connsiteY39" fmla="*/ 479920 h 6858000"/>
              <a:gd name="connsiteX40" fmla="*/ 7788060 w 11420409"/>
              <a:gd name="connsiteY40" fmla="*/ 373174 h 6858000"/>
              <a:gd name="connsiteX41" fmla="*/ 7778945 w 11420409"/>
              <a:gd name="connsiteY41" fmla="*/ 366172 h 6858000"/>
              <a:gd name="connsiteX42" fmla="*/ 7788060 w 11420409"/>
              <a:gd name="connsiteY42" fmla="*/ 373174 h 6858000"/>
              <a:gd name="connsiteX43" fmla="*/ 7780464 w 11420409"/>
              <a:gd name="connsiteY43" fmla="*/ 367450 h 6858000"/>
              <a:gd name="connsiteX44" fmla="*/ 7778945 w 11420409"/>
              <a:gd name="connsiteY44" fmla="*/ 366172 h 6858000"/>
              <a:gd name="connsiteX45" fmla="*/ 7544713 w 11420409"/>
              <a:gd name="connsiteY45" fmla="*/ 169063 h 6858000"/>
              <a:gd name="connsiteX46" fmla="*/ 7778945 w 11420409"/>
              <a:gd name="connsiteY46" fmla="*/ 366172 h 6858000"/>
              <a:gd name="connsiteX47" fmla="*/ 7732713 w 11420409"/>
              <a:gd name="connsiteY47" fmla="*/ 330658 h 6858000"/>
              <a:gd name="connsiteX48" fmla="*/ 7544713 w 11420409"/>
              <a:gd name="connsiteY48" fmla="*/ 169063 h 6858000"/>
              <a:gd name="connsiteX49" fmla="*/ 7414333 w 11420409"/>
              <a:gd name="connsiteY49" fmla="*/ 56995 h 6858000"/>
              <a:gd name="connsiteX50" fmla="*/ 7544713 w 11420409"/>
              <a:gd name="connsiteY50" fmla="*/ 169063 h 6858000"/>
              <a:gd name="connsiteX51" fmla="*/ 7454642 w 11420409"/>
              <a:gd name="connsiteY51" fmla="*/ 93267 h 6858000"/>
              <a:gd name="connsiteX52" fmla="*/ 7414333 w 11420409"/>
              <a:gd name="connsiteY52" fmla="*/ 56995 h 6858000"/>
              <a:gd name="connsiteX53" fmla="*/ 7348739 w 11420409"/>
              <a:gd name="connsiteY53" fmla="*/ 0 h 6858000"/>
              <a:gd name="connsiteX54" fmla="*/ 7350996 w 11420409"/>
              <a:gd name="connsiteY54" fmla="*/ 0 h 6858000"/>
              <a:gd name="connsiteX55" fmla="*/ 7414333 w 11420409"/>
              <a:gd name="connsiteY55" fmla="*/ 56995 h 6858000"/>
              <a:gd name="connsiteX56" fmla="*/ 7364096 w 11420409"/>
              <a:gd name="connsiteY56" fmla="*/ 13813 h 6858000"/>
              <a:gd name="connsiteX57" fmla="*/ 7348739 w 11420409"/>
              <a:gd name="connsiteY57" fmla="*/ 0 h 6858000"/>
              <a:gd name="connsiteX58" fmla="*/ 1493836 w 11420409"/>
              <a:gd name="connsiteY58" fmla="*/ 0 h 6858000"/>
              <a:gd name="connsiteX59" fmla="*/ 1493841 w 11420409"/>
              <a:gd name="connsiteY59" fmla="*/ 0 h 6858000"/>
              <a:gd name="connsiteX60" fmla="*/ 1318737 w 11420409"/>
              <a:gd name="connsiteY60" fmla="*/ 70646 h 6858000"/>
              <a:gd name="connsiteX61" fmla="*/ 1036321 w 11420409"/>
              <a:gd name="connsiteY61" fmla="*/ 194312 h 6858000"/>
              <a:gd name="connsiteX62" fmla="*/ 130672 w 11420409"/>
              <a:gd name="connsiteY62" fmla="*/ 671514 h 6858000"/>
              <a:gd name="connsiteX63" fmla="*/ 0 w 11420409"/>
              <a:gd name="connsiteY63" fmla="*/ 747683 h 6858000"/>
              <a:gd name="connsiteX64" fmla="*/ 0 w 11420409"/>
              <a:gd name="connsiteY64" fmla="*/ 747682 h 6858000"/>
              <a:gd name="connsiteX65" fmla="*/ 130672 w 11420409"/>
              <a:gd name="connsiteY65" fmla="*/ 671513 h 6858000"/>
              <a:gd name="connsiteX66" fmla="*/ 1036321 w 11420409"/>
              <a:gd name="connsiteY66" fmla="*/ 194310 h 6858000"/>
              <a:gd name="connsiteX67" fmla="*/ 1318737 w 11420409"/>
              <a:gd name="connsiteY67" fmla="*/ 70644 h 6858000"/>
              <a:gd name="connsiteX68" fmla="*/ 1493836 w 11420409"/>
              <a:gd name="connsiteY68" fmla="*/ 0 h 6858000"/>
              <a:gd name="connsiteX0" fmla="*/ 11326061 w 11420409"/>
              <a:gd name="connsiteY0" fmla="*/ 1692532 h 6858000"/>
              <a:gd name="connsiteX1" fmla="*/ 11406282 w 11420409"/>
              <a:gd name="connsiteY1" fmla="*/ 1785822 h 6858000"/>
              <a:gd name="connsiteX2" fmla="*/ 11420409 w 11420409"/>
              <a:gd name="connsiteY2" fmla="*/ 1805055 h 6858000"/>
              <a:gd name="connsiteX3" fmla="*/ 11326061 w 11420409"/>
              <a:gd name="connsiteY3" fmla="*/ 1692532 h 6858000"/>
              <a:gd name="connsiteX4" fmla="*/ 10829453 w 11420409"/>
              <a:gd name="connsiteY4" fmla="*/ 1199865 h 6858000"/>
              <a:gd name="connsiteX5" fmla="*/ 10830227 w 11420409"/>
              <a:gd name="connsiteY5" fmla="*/ 1200518 h 6858000"/>
              <a:gd name="connsiteX6" fmla="*/ 10836860 w 11420409"/>
              <a:gd name="connsiteY6" fmla="*/ 1206669 h 6858000"/>
              <a:gd name="connsiteX7" fmla="*/ 10829453 w 11420409"/>
              <a:gd name="connsiteY7" fmla="*/ 1199865 h 6858000"/>
              <a:gd name="connsiteX8" fmla="*/ 10586019 w 11420409"/>
              <a:gd name="connsiteY8" fmla="*/ 995058 h 6858000"/>
              <a:gd name="connsiteX9" fmla="*/ 10594661 w 11420409"/>
              <a:gd name="connsiteY9" fmla="*/ 1001698 h 6858000"/>
              <a:gd name="connsiteX10" fmla="*/ 10635916 w 11420409"/>
              <a:gd name="connsiteY10" fmla="*/ 1036517 h 6858000"/>
              <a:gd name="connsiteX11" fmla="*/ 10586019 w 11420409"/>
              <a:gd name="connsiteY11" fmla="*/ 995058 h 6858000"/>
              <a:gd name="connsiteX12" fmla="*/ 10333954 w 11420409"/>
              <a:gd name="connsiteY12" fmla="*/ 802539 h 6858000"/>
              <a:gd name="connsiteX13" fmla="*/ 10350933 w 11420409"/>
              <a:gd name="connsiteY13" fmla="*/ 814415 h 6858000"/>
              <a:gd name="connsiteX14" fmla="*/ 10404349 w 11420409"/>
              <a:gd name="connsiteY14" fmla="*/ 855460 h 6858000"/>
              <a:gd name="connsiteX15" fmla="*/ 10333954 w 11420409"/>
              <a:gd name="connsiteY15" fmla="*/ 802539 h 6858000"/>
              <a:gd name="connsiteX16" fmla="*/ 10157163 w 11420409"/>
              <a:gd name="connsiteY16" fmla="*/ 678888 h 6858000"/>
              <a:gd name="connsiteX17" fmla="*/ 10099498 w 11420409"/>
              <a:gd name="connsiteY17" fmla="*/ 638556 h 6858000"/>
              <a:gd name="connsiteX18" fmla="*/ 10157163 w 11420409"/>
              <a:gd name="connsiteY18" fmla="*/ 678888 h 6858000"/>
              <a:gd name="connsiteX19" fmla="*/ 5416523 w 11420409"/>
              <a:gd name="connsiteY19" fmla="*/ 392344 h 6858000"/>
              <a:gd name="connsiteX20" fmla="*/ 7023101 w 11420409"/>
              <a:gd name="connsiteY20" fmla="*/ 661672 h 6858000"/>
              <a:gd name="connsiteX21" fmla="*/ 9331960 w 11420409"/>
              <a:gd name="connsiteY21" fmla="*/ 2457451 h 6858000"/>
              <a:gd name="connsiteX22" fmla="*/ 10982484 w 11420409"/>
              <a:gd name="connsiteY22" fmla="*/ 4320382 h 6858000"/>
              <a:gd name="connsiteX23" fmla="*/ 11046723 w 11420409"/>
              <a:gd name="connsiteY23" fmla="*/ 4399855 h 6858000"/>
              <a:gd name="connsiteX24" fmla="*/ 10950686 w 11420409"/>
              <a:gd name="connsiteY24" fmla="*/ 4415959 h 6858000"/>
              <a:gd name="connsiteX25" fmla="*/ 9269729 w 11420409"/>
              <a:gd name="connsiteY25" fmla="*/ 5092699 h 6858000"/>
              <a:gd name="connsiteX26" fmla="*/ 8111807 w 11420409"/>
              <a:gd name="connsiteY26" fmla="*/ 6820535 h 6858000"/>
              <a:gd name="connsiteX27" fmla="*/ 8096827 w 11420409"/>
              <a:gd name="connsiteY27" fmla="*/ 6858000 h 6858000"/>
              <a:gd name="connsiteX28" fmla="*/ 0 w 11420409"/>
              <a:gd name="connsiteY28" fmla="*/ 6858000 h 6858000"/>
              <a:gd name="connsiteX29" fmla="*/ 0 w 11420409"/>
              <a:gd name="connsiteY29" fmla="*/ 1312476 h 6858000"/>
              <a:gd name="connsiteX30" fmla="*/ 393384 w 11420409"/>
              <a:gd name="connsiteY30" fmla="*/ 1170010 h 6858000"/>
              <a:gd name="connsiteX31" fmla="*/ 1790701 w 11420409"/>
              <a:gd name="connsiteY31" fmla="*/ 836932 h 6858000"/>
              <a:gd name="connsiteX32" fmla="*/ 5416523 w 11420409"/>
              <a:gd name="connsiteY32" fmla="*/ 392344 h 6858000"/>
              <a:gd name="connsiteX33" fmla="*/ 7788060 w 11420409"/>
              <a:gd name="connsiteY33" fmla="*/ 373174 h 6858000"/>
              <a:gd name="connsiteX34" fmla="*/ 7951989 w 11420409"/>
              <a:gd name="connsiteY34" fmla="*/ 496695 h 6858000"/>
              <a:gd name="connsiteX35" fmla="*/ 8131809 w 11420409"/>
              <a:gd name="connsiteY35" fmla="*/ 618490 h 6858000"/>
              <a:gd name="connsiteX36" fmla="*/ 10486389 w 11420409"/>
              <a:gd name="connsiteY36" fmla="*/ 1795780 h 6858000"/>
              <a:gd name="connsiteX37" fmla="*/ 8131810 w 11420409"/>
              <a:gd name="connsiteY37" fmla="*/ 619761 h 6858000"/>
              <a:gd name="connsiteX38" fmla="*/ 7927023 w 11420409"/>
              <a:gd name="connsiteY38" fmla="*/ 479920 h 6858000"/>
              <a:gd name="connsiteX39" fmla="*/ 7788060 w 11420409"/>
              <a:gd name="connsiteY39" fmla="*/ 373174 h 6858000"/>
              <a:gd name="connsiteX40" fmla="*/ 7778945 w 11420409"/>
              <a:gd name="connsiteY40" fmla="*/ 366172 h 6858000"/>
              <a:gd name="connsiteX41" fmla="*/ 7788060 w 11420409"/>
              <a:gd name="connsiteY41" fmla="*/ 373174 h 6858000"/>
              <a:gd name="connsiteX42" fmla="*/ 7780464 w 11420409"/>
              <a:gd name="connsiteY42" fmla="*/ 367450 h 6858000"/>
              <a:gd name="connsiteX43" fmla="*/ 7778945 w 11420409"/>
              <a:gd name="connsiteY43" fmla="*/ 366172 h 6858000"/>
              <a:gd name="connsiteX44" fmla="*/ 7544713 w 11420409"/>
              <a:gd name="connsiteY44" fmla="*/ 169063 h 6858000"/>
              <a:gd name="connsiteX45" fmla="*/ 7778945 w 11420409"/>
              <a:gd name="connsiteY45" fmla="*/ 366172 h 6858000"/>
              <a:gd name="connsiteX46" fmla="*/ 7732713 w 11420409"/>
              <a:gd name="connsiteY46" fmla="*/ 330658 h 6858000"/>
              <a:gd name="connsiteX47" fmla="*/ 7544713 w 11420409"/>
              <a:gd name="connsiteY47" fmla="*/ 169063 h 6858000"/>
              <a:gd name="connsiteX48" fmla="*/ 7414333 w 11420409"/>
              <a:gd name="connsiteY48" fmla="*/ 56995 h 6858000"/>
              <a:gd name="connsiteX49" fmla="*/ 7544713 w 11420409"/>
              <a:gd name="connsiteY49" fmla="*/ 169063 h 6858000"/>
              <a:gd name="connsiteX50" fmla="*/ 7454642 w 11420409"/>
              <a:gd name="connsiteY50" fmla="*/ 93267 h 6858000"/>
              <a:gd name="connsiteX51" fmla="*/ 7414333 w 11420409"/>
              <a:gd name="connsiteY51" fmla="*/ 56995 h 6858000"/>
              <a:gd name="connsiteX52" fmla="*/ 7348739 w 11420409"/>
              <a:gd name="connsiteY52" fmla="*/ 0 h 6858000"/>
              <a:gd name="connsiteX53" fmla="*/ 7350996 w 11420409"/>
              <a:gd name="connsiteY53" fmla="*/ 0 h 6858000"/>
              <a:gd name="connsiteX54" fmla="*/ 7414333 w 11420409"/>
              <a:gd name="connsiteY54" fmla="*/ 56995 h 6858000"/>
              <a:gd name="connsiteX55" fmla="*/ 7364096 w 11420409"/>
              <a:gd name="connsiteY55" fmla="*/ 13813 h 6858000"/>
              <a:gd name="connsiteX56" fmla="*/ 7348739 w 11420409"/>
              <a:gd name="connsiteY56" fmla="*/ 0 h 6858000"/>
              <a:gd name="connsiteX57" fmla="*/ 1493836 w 11420409"/>
              <a:gd name="connsiteY57" fmla="*/ 0 h 6858000"/>
              <a:gd name="connsiteX58" fmla="*/ 1493841 w 11420409"/>
              <a:gd name="connsiteY58" fmla="*/ 0 h 6858000"/>
              <a:gd name="connsiteX59" fmla="*/ 1318737 w 11420409"/>
              <a:gd name="connsiteY59" fmla="*/ 70646 h 6858000"/>
              <a:gd name="connsiteX60" fmla="*/ 1036321 w 11420409"/>
              <a:gd name="connsiteY60" fmla="*/ 194312 h 6858000"/>
              <a:gd name="connsiteX61" fmla="*/ 130672 w 11420409"/>
              <a:gd name="connsiteY61" fmla="*/ 671514 h 6858000"/>
              <a:gd name="connsiteX62" fmla="*/ 0 w 11420409"/>
              <a:gd name="connsiteY62" fmla="*/ 747683 h 6858000"/>
              <a:gd name="connsiteX63" fmla="*/ 0 w 11420409"/>
              <a:gd name="connsiteY63" fmla="*/ 747682 h 6858000"/>
              <a:gd name="connsiteX64" fmla="*/ 130672 w 11420409"/>
              <a:gd name="connsiteY64" fmla="*/ 671513 h 6858000"/>
              <a:gd name="connsiteX65" fmla="*/ 1036321 w 11420409"/>
              <a:gd name="connsiteY65" fmla="*/ 194310 h 6858000"/>
              <a:gd name="connsiteX66" fmla="*/ 1318737 w 11420409"/>
              <a:gd name="connsiteY66" fmla="*/ 70644 h 6858000"/>
              <a:gd name="connsiteX67" fmla="*/ 1493836 w 11420409"/>
              <a:gd name="connsiteY67" fmla="*/ 0 h 6858000"/>
              <a:gd name="connsiteX0" fmla="*/ 11420409 w 11420409"/>
              <a:gd name="connsiteY0" fmla="*/ 1805055 h 6858000"/>
              <a:gd name="connsiteX1" fmla="*/ 11406282 w 11420409"/>
              <a:gd name="connsiteY1" fmla="*/ 1785822 h 6858000"/>
              <a:gd name="connsiteX2" fmla="*/ 11420409 w 11420409"/>
              <a:gd name="connsiteY2" fmla="*/ 1805055 h 6858000"/>
              <a:gd name="connsiteX3" fmla="*/ 10829453 w 11420409"/>
              <a:gd name="connsiteY3" fmla="*/ 1199865 h 6858000"/>
              <a:gd name="connsiteX4" fmla="*/ 10830227 w 11420409"/>
              <a:gd name="connsiteY4" fmla="*/ 1200518 h 6858000"/>
              <a:gd name="connsiteX5" fmla="*/ 10836860 w 11420409"/>
              <a:gd name="connsiteY5" fmla="*/ 1206669 h 6858000"/>
              <a:gd name="connsiteX6" fmla="*/ 10829453 w 11420409"/>
              <a:gd name="connsiteY6" fmla="*/ 1199865 h 6858000"/>
              <a:gd name="connsiteX7" fmla="*/ 10586019 w 11420409"/>
              <a:gd name="connsiteY7" fmla="*/ 995058 h 6858000"/>
              <a:gd name="connsiteX8" fmla="*/ 10594661 w 11420409"/>
              <a:gd name="connsiteY8" fmla="*/ 1001698 h 6858000"/>
              <a:gd name="connsiteX9" fmla="*/ 10635916 w 11420409"/>
              <a:gd name="connsiteY9" fmla="*/ 1036517 h 6858000"/>
              <a:gd name="connsiteX10" fmla="*/ 10586019 w 11420409"/>
              <a:gd name="connsiteY10" fmla="*/ 995058 h 6858000"/>
              <a:gd name="connsiteX11" fmla="*/ 10333954 w 11420409"/>
              <a:gd name="connsiteY11" fmla="*/ 802539 h 6858000"/>
              <a:gd name="connsiteX12" fmla="*/ 10350933 w 11420409"/>
              <a:gd name="connsiteY12" fmla="*/ 814415 h 6858000"/>
              <a:gd name="connsiteX13" fmla="*/ 10404349 w 11420409"/>
              <a:gd name="connsiteY13" fmla="*/ 855460 h 6858000"/>
              <a:gd name="connsiteX14" fmla="*/ 10333954 w 11420409"/>
              <a:gd name="connsiteY14" fmla="*/ 802539 h 6858000"/>
              <a:gd name="connsiteX15" fmla="*/ 10157163 w 11420409"/>
              <a:gd name="connsiteY15" fmla="*/ 678888 h 6858000"/>
              <a:gd name="connsiteX16" fmla="*/ 10099498 w 11420409"/>
              <a:gd name="connsiteY16" fmla="*/ 638556 h 6858000"/>
              <a:gd name="connsiteX17" fmla="*/ 10157163 w 11420409"/>
              <a:gd name="connsiteY17" fmla="*/ 678888 h 6858000"/>
              <a:gd name="connsiteX18" fmla="*/ 5416523 w 11420409"/>
              <a:gd name="connsiteY18" fmla="*/ 392344 h 6858000"/>
              <a:gd name="connsiteX19" fmla="*/ 7023101 w 11420409"/>
              <a:gd name="connsiteY19" fmla="*/ 661672 h 6858000"/>
              <a:gd name="connsiteX20" fmla="*/ 9331960 w 11420409"/>
              <a:gd name="connsiteY20" fmla="*/ 2457451 h 6858000"/>
              <a:gd name="connsiteX21" fmla="*/ 10982484 w 11420409"/>
              <a:gd name="connsiteY21" fmla="*/ 4320382 h 6858000"/>
              <a:gd name="connsiteX22" fmla="*/ 11046723 w 11420409"/>
              <a:gd name="connsiteY22" fmla="*/ 4399855 h 6858000"/>
              <a:gd name="connsiteX23" fmla="*/ 10950686 w 11420409"/>
              <a:gd name="connsiteY23" fmla="*/ 4415959 h 6858000"/>
              <a:gd name="connsiteX24" fmla="*/ 9269729 w 11420409"/>
              <a:gd name="connsiteY24" fmla="*/ 5092699 h 6858000"/>
              <a:gd name="connsiteX25" fmla="*/ 8111807 w 11420409"/>
              <a:gd name="connsiteY25" fmla="*/ 6820535 h 6858000"/>
              <a:gd name="connsiteX26" fmla="*/ 8096827 w 11420409"/>
              <a:gd name="connsiteY26" fmla="*/ 6858000 h 6858000"/>
              <a:gd name="connsiteX27" fmla="*/ 0 w 11420409"/>
              <a:gd name="connsiteY27" fmla="*/ 6858000 h 6858000"/>
              <a:gd name="connsiteX28" fmla="*/ 0 w 11420409"/>
              <a:gd name="connsiteY28" fmla="*/ 1312476 h 6858000"/>
              <a:gd name="connsiteX29" fmla="*/ 393384 w 11420409"/>
              <a:gd name="connsiteY29" fmla="*/ 1170010 h 6858000"/>
              <a:gd name="connsiteX30" fmla="*/ 1790701 w 11420409"/>
              <a:gd name="connsiteY30" fmla="*/ 836932 h 6858000"/>
              <a:gd name="connsiteX31" fmla="*/ 5416523 w 11420409"/>
              <a:gd name="connsiteY31" fmla="*/ 392344 h 6858000"/>
              <a:gd name="connsiteX32" fmla="*/ 7788060 w 11420409"/>
              <a:gd name="connsiteY32" fmla="*/ 373174 h 6858000"/>
              <a:gd name="connsiteX33" fmla="*/ 7951989 w 11420409"/>
              <a:gd name="connsiteY33" fmla="*/ 496695 h 6858000"/>
              <a:gd name="connsiteX34" fmla="*/ 8131809 w 11420409"/>
              <a:gd name="connsiteY34" fmla="*/ 618490 h 6858000"/>
              <a:gd name="connsiteX35" fmla="*/ 10486389 w 11420409"/>
              <a:gd name="connsiteY35" fmla="*/ 1795780 h 6858000"/>
              <a:gd name="connsiteX36" fmla="*/ 8131810 w 11420409"/>
              <a:gd name="connsiteY36" fmla="*/ 619761 h 6858000"/>
              <a:gd name="connsiteX37" fmla="*/ 7927023 w 11420409"/>
              <a:gd name="connsiteY37" fmla="*/ 479920 h 6858000"/>
              <a:gd name="connsiteX38" fmla="*/ 7788060 w 11420409"/>
              <a:gd name="connsiteY38" fmla="*/ 373174 h 6858000"/>
              <a:gd name="connsiteX39" fmla="*/ 7778945 w 11420409"/>
              <a:gd name="connsiteY39" fmla="*/ 366172 h 6858000"/>
              <a:gd name="connsiteX40" fmla="*/ 7788060 w 11420409"/>
              <a:gd name="connsiteY40" fmla="*/ 373174 h 6858000"/>
              <a:gd name="connsiteX41" fmla="*/ 7780464 w 11420409"/>
              <a:gd name="connsiteY41" fmla="*/ 367450 h 6858000"/>
              <a:gd name="connsiteX42" fmla="*/ 7778945 w 11420409"/>
              <a:gd name="connsiteY42" fmla="*/ 366172 h 6858000"/>
              <a:gd name="connsiteX43" fmla="*/ 7544713 w 11420409"/>
              <a:gd name="connsiteY43" fmla="*/ 169063 h 6858000"/>
              <a:gd name="connsiteX44" fmla="*/ 7778945 w 11420409"/>
              <a:gd name="connsiteY44" fmla="*/ 366172 h 6858000"/>
              <a:gd name="connsiteX45" fmla="*/ 7732713 w 11420409"/>
              <a:gd name="connsiteY45" fmla="*/ 330658 h 6858000"/>
              <a:gd name="connsiteX46" fmla="*/ 7544713 w 11420409"/>
              <a:gd name="connsiteY46" fmla="*/ 169063 h 6858000"/>
              <a:gd name="connsiteX47" fmla="*/ 7414333 w 11420409"/>
              <a:gd name="connsiteY47" fmla="*/ 56995 h 6858000"/>
              <a:gd name="connsiteX48" fmla="*/ 7544713 w 11420409"/>
              <a:gd name="connsiteY48" fmla="*/ 169063 h 6858000"/>
              <a:gd name="connsiteX49" fmla="*/ 7454642 w 11420409"/>
              <a:gd name="connsiteY49" fmla="*/ 93267 h 6858000"/>
              <a:gd name="connsiteX50" fmla="*/ 7414333 w 11420409"/>
              <a:gd name="connsiteY50" fmla="*/ 56995 h 6858000"/>
              <a:gd name="connsiteX51" fmla="*/ 7348739 w 11420409"/>
              <a:gd name="connsiteY51" fmla="*/ 0 h 6858000"/>
              <a:gd name="connsiteX52" fmla="*/ 7350996 w 11420409"/>
              <a:gd name="connsiteY52" fmla="*/ 0 h 6858000"/>
              <a:gd name="connsiteX53" fmla="*/ 7414333 w 11420409"/>
              <a:gd name="connsiteY53" fmla="*/ 56995 h 6858000"/>
              <a:gd name="connsiteX54" fmla="*/ 7364096 w 11420409"/>
              <a:gd name="connsiteY54" fmla="*/ 13813 h 6858000"/>
              <a:gd name="connsiteX55" fmla="*/ 7348739 w 11420409"/>
              <a:gd name="connsiteY55" fmla="*/ 0 h 6858000"/>
              <a:gd name="connsiteX56" fmla="*/ 1493836 w 11420409"/>
              <a:gd name="connsiteY56" fmla="*/ 0 h 6858000"/>
              <a:gd name="connsiteX57" fmla="*/ 1493841 w 11420409"/>
              <a:gd name="connsiteY57" fmla="*/ 0 h 6858000"/>
              <a:gd name="connsiteX58" fmla="*/ 1318737 w 11420409"/>
              <a:gd name="connsiteY58" fmla="*/ 70646 h 6858000"/>
              <a:gd name="connsiteX59" fmla="*/ 1036321 w 11420409"/>
              <a:gd name="connsiteY59" fmla="*/ 194312 h 6858000"/>
              <a:gd name="connsiteX60" fmla="*/ 130672 w 11420409"/>
              <a:gd name="connsiteY60" fmla="*/ 671514 h 6858000"/>
              <a:gd name="connsiteX61" fmla="*/ 0 w 11420409"/>
              <a:gd name="connsiteY61" fmla="*/ 747683 h 6858000"/>
              <a:gd name="connsiteX62" fmla="*/ 0 w 11420409"/>
              <a:gd name="connsiteY62" fmla="*/ 747682 h 6858000"/>
              <a:gd name="connsiteX63" fmla="*/ 130672 w 11420409"/>
              <a:gd name="connsiteY63" fmla="*/ 671513 h 6858000"/>
              <a:gd name="connsiteX64" fmla="*/ 1036321 w 11420409"/>
              <a:gd name="connsiteY64" fmla="*/ 194310 h 6858000"/>
              <a:gd name="connsiteX65" fmla="*/ 1318737 w 11420409"/>
              <a:gd name="connsiteY65" fmla="*/ 70644 h 6858000"/>
              <a:gd name="connsiteX66" fmla="*/ 1493836 w 11420409"/>
              <a:gd name="connsiteY66" fmla="*/ 0 h 6858000"/>
              <a:gd name="connsiteX0" fmla="*/ 10829453 w 11046723"/>
              <a:gd name="connsiteY0" fmla="*/ 1199865 h 6858000"/>
              <a:gd name="connsiteX1" fmla="*/ 10830227 w 11046723"/>
              <a:gd name="connsiteY1" fmla="*/ 1200518 h 6858000"/>
              <a:gd name="connsiteX2" fmla="*/ 10836860 w 11046723"/>
              <a:gd name="connsiteY2" fmla="*/ 1206669 h 6858000"/>
              <a:gd name="connsiteX3" fmla="*/ 10829453 w 11046723"/>
              <a:gd name="connsiteY3" fmla="*/ 1199865 h 6858000"/>
              <a:gd name="connsiteX4" fmla="*/ 10586019 w 11046723"/>
              <a:gd name="connsiteY4" fmla="*/ 995058 h 6858000"/>
              <a:gd name="connsiteX5" fmla="*/ 10594661 w 11046723"/>
              <a:gd name="connsiteY5" fmla="*/ 1001698 h 6858000"/>
              <a:gd name="connsiteX6" fmla="*/ 10635916 w 11046723"/>
              <a:gd name="connsiteY6" fmla="*/ 1036517 h 6858000"/>
              <a:gd name="connsiteX7" fmla="*/ 10586019 w 11046723"/>
              <a:gd name="connsiteY7" fmla="*/ 995058 h 6858000"/>
              <a:gd name="connsiteX8" fmla="*/ 10333954 w 11046723"/>
              <a:gd name="connsiteY8" fmla="*/ 802539 h 6858000"/>
              <a:gd name="connsiteX9" fmla="*/ 10350933 w 11046723"/>
              <a:gd name="connsiteY9" fmla="*/ 814415 h 6858000"/>
              <a:gd name="connsiteX10" fmla="*/ 10404349 w 11046723"/>
              <a:gd name="connsiteY10" fmla="*/ 855460 h 6858000"/>
              <a:gd name="connsiteX11" fmla="*/ 10333954 w 11046723"/>
              <a:gd name="connsiteY11" fmla="*/ 802539 h 6858000"/>
              <a:gd name="connsiteX12" fmla="*/ 10157163 w 11046723"/>
              <a:gd name="connsiteY12" fmla="*/ 678888 h 6858000"/>
              <a:gd name="connsiteX13" fmla="*/ 10099498 w 11046723"/>
              <a:gd name="connsiteY13" fmla="*/ 638556 h 6858000"/>
              <a:gd name="connsiteX14" fmla="*/ 10157163 w 11046723"/>
              <a:gd name="connsiteY14" fmla="*/ 678888 h 6858000"/>
              <a:gd name="connsiteX15" fmla="*/ 5416523 w 11046723"/>
              <a:gd name="connsiteY15" fmla="*/ 392344 h 6858000"/>
              <a:gd name="connsiteX16" fmla="*/ 7023101 w 11046723"/>
              <a:gd name="connsiteY16" fmla="*/ 661672 h 6858000"/>
              <a:gd name="connsiteX17" fmla="*/ 9331960 w 11046723"/>
              <a:gd name="connsiteY17" fmla="*/ 2457451 h 6858000"/>
              <a:gd name="connsiteX18" fmla="*/ 10982484 w 11046723"/>
              <a:gd name="connsiteY18" fmla="*/ 4320382 h 6858000"/>
              <a:gd name="connsiteX19" fmla="*/ 11046723 w 11046723"/>
              <a:gd name="connsiteY19" fmla="*/ 4399855 h 6858000"/>
              <a:gd name="connsiteX20" fmla="*/ 10950686 w 11046723"/>
              <a:gd name="connsiteY20" fmla="*/ 4415959 h 6858000"/>
              <a:gd name="connsiteX21" fmla="*/ 9269729 w 11046723"/>
              <a:gd name="connsiteY21" fmla="*/ 5092699 h 6858000"/>
              <a:gd name="connsiteX22" fmla="*/ 8111807 w 11046723"/>
              <a:gd name="connsiteY22" fmla="*/ 6820535 h 6858000"/>
              <a:gd name="connsiteX23" fmla="*/ 8096827 w 11046723"/>
              <a:gd name="connsiteY23" fmla="*/ 6858000 h 6858000"/>
              <a:gd name="connsiteX24" fmla="*/ 0 w 11046723"/>
              <a:gd name="connsiteY24" fmla="*/ 6858000 h 6858000"/>
              <a:gd name="connsiteX25" fmla="*/ 0 w 11046723"/>
              <a:gd name="connsiteY25" fmla="*/ 1312476 h 6858000"/>
              <a:gd name="connsiteX26" fmla="*/ 393384 w 11046723"/>
              <a:gd name="connsiteY26" fmla="*/ 1170010 h 6858000"/>
              <a:gd name="connsiteX27" fmla="*/ 1790701 w 11046723"/>
              <a:gd name="connsiteY27" fmla="*/ 836932 h 6858000"/>
              <a:gd name="connsiteX28" fmla="*/ 5416523 w 11046723"/>
              <a:gd name="connsiteY28" fmla="*/ 392344 h 6858000"/>
              <a:gd name="connsiteX29" fmla="*/ 7788060 w 11046723"/>
              <a:gd name="connsiteY29" fmla="*/ 373174 h 6858000"/>
              <a:gd name="connsiteX30" fmla="*/ 7951989 w 11046723"/>
              <a:gd name="connsiteY30" fmla="*/ 496695 h 6858000"/>
              <a:gd name="connsiteX31" fmla="*/ 8131809 w 11046723"/>
              <a:gd name="connsiteY31" fmla="*/ 618490 h 6858000"/>
              <a:gd name="connsiteX32" fmla="*/ 10486389 w 11046723"/>
              <a:gd name="connsiteY32" fmla="*/ 1795780 h 6858000"/>
              <a:gd name="connsiteX33" fmla="*/ 8131810 w 11046723"/>
              <a:gd name="connsiteY33" fmla="*/ 619761 h 6858000"/>
              <a:gd name="connsiteX34" fmla="*/ 7927023 w 11046723"/>
              <a:gd name="connsiteY34" fmla="*/ 479920 h 6858000"/>
              <a:gd name="connsiteX35" fmla="*/ 7788060 w 11046723"/>
              <a:gd name="connsiteY35" fmla="*/ 373174 h 6858000"/>
              <a:gd name="connsiteX36" fmla="*/ 7778945 w 11046723"/>
              <a:gd name="connsiteY36" fmla="*/ 366172 h 6858000"/>
              <a:gd name="connsiteX37" fmla="*/ 7788060 w 11046723"/>
              <a:gd name="connsiteY37" fmla="*/ 373174 h 6858000"/>
              <a:gd name="connsiteX38" fmla="*/ 7780464 w 11046723"/>
              <a:gd name="connsiteY38" fmla="*/ 367450 h 6858000"/>
              <a:gd name="connsiteX39" fmla="*/ 7778945 w 11046723"/>
              <a:gd name="connsiteY39" fmla="*/ 366172 h 6858000"/>
              <a:gd name="connsiteX40" fmla="*/ 7544713 w 11046723"/>
              <a:gd name="connsiteY40" fmla="*/ 169063 h 6858000"/>
              <a:gd name="connsiteX41" fmla="*/ 7778945 w 11046723"/>
              <a:gd name="connsiteY41" fmla="*/ 366172 h 6858000"/>
              <a:gd name="connsiteX42" fmla="*/ 7732713 w 11046723"/>
              <a:gd name="connsiteY42" fmla="*/ 330658 h 6858000"/>
              <a:gd name="connsiteX43" fmla="*/ 7544713 w 11046723"/>
              <a:gd name="connsiteY43" fmla="*/ 169063 h 6858000"/>
              <a:gd name="connsiteX44" fmla="*/ 7414333 w 11046723"/>
              <a:gd name="connsiteY44" fmla="*/ 56995 h 6858000"/>
              <a:gd name="connsiteX45" fmla="*/ 7544713 w 11046723"/>
              <a:gd name="connsiteY45" fmla="*/ 169063 h 6858000"/>
              <a:gd name="connsiteX46" fmla="*/ 7454642 w 11046723"/>
              <a:gd name="connsiteY46" fmla="*/ 93267 h 6858000"/>
              <a:gd name="connsiteX47" fmla="*/ 7414333 w 11046723"/>
              <a:gd name="connsiteY47" fmla="*/ 56995 h 6858000"/>
              <a:gd name="connsiteX48" fmla="*/ 7348739 w 11046723"/>
              <a:gd name="connsiteY48" fmla="*/ 0 h 6858000"/>
              <a:gd name="connsiteX49" fmla="*/ 7350996 w 11046723"/>
              <a:gd name="connsiteY49" fmla="*/ 0 h 6858000"/>
              <a:gd name="connsiteX50" fmla="*/ 7414333 w 11046723"/>
              <a:gd name="connsiteY50" fmla="*/ 56995 h 6858000"/>
              <a:gd name="connsiteX51" fmla="*/ 7364096 w 11046723"/>
              <a:gd name="connsiteY51" fmla="*/ 13813 h 6858000"/>
              <a:gd name="connsiteX52" fmla="*/ 7348739 w 11046723"/>
              <a:gd name="connsiteY52" fmla="*/ 0 h 6858000"/>
              <a:gd name="connsiteX53" fmla="*/ 1493836 w 11046723"/>
              <a:gd name="connsiteY53" fmla="*/ 0 h 6858000"/>
              <a:gd name="connsiteX54" fmla="*/ 1493841 w 11046723"/>
              <a:gd name="connsiteY54" fmla="*/ 0 h 6858000"/>
              <a:gd name="connsiteX55" fmla="*/ 1318737 w 11046723"/>
              <a:gd name="connsiteY55" fmla="*/ 70646 h 6858000"/>
              <a:gd name="connsiteX56" fmla="*/ 1036321 w 11046723"/>
              <a:gd name="connsiteY56" fmla="*/ 194312 h 6858000"/>
              <a:gd name="connsiteX57" fmla="*/ 130672 w 11046723"/>
              <a:gd name="connsiteY57" fmla="*/ 671514 h 6858000"/>
              <a:gd name="connsiteX58" fmla="*/ 0 w 11046723"/>
              <a:gd name="connsiteY58" fmla="*/ 747683 h 6858000"/>
              <a:gd name="connsiteX59" fmla="*/ 0 w 11046723"/>
              <a:gd name="connsiteY59" fmla="*/ 747682 h 6858000"/>
              <a:gd name="connsiteX60" fmla="*/ 130672 w 11046723"/>
              <a:gd name="connsiteY60" fmla="*/ 671513 h 6858000"/>
              <a:gd name="connsiteX61" fmla="*/ 1036321 w 11046723"/>
              <a:gd name="connsiteY61" fmla="*/ 194310 h 6858000"/>
              <a:gd name="connsiteX62" fmla="*/ 1318737 w 11046723"/>
              <a:gd name="connsiteY62" fmla="*/ 70644 h 6858000"/>
              <a:gd name="connsiteX63" fmla="*/ 1493836 w 11046723"/>
              <a:gd name="connsiteY63" fmla="*/ 0 h 6858000"/>
              <a:gd name="connsiteX0" fmla="*/ 10836860 w 11046723"/>
              <a:gd name="connsiteY0" fmla="*/ 1206669 h 6858000"/>
              <a:gd name="connsiteX1" fmla="*/ 10830227 w 11046723"/>
              <a:gd name="connsiteY1" fmla="*/ 1200518 h 6858000"/>
              <a:gd name="connsiteX2" fmla="*/ 10836860 w 11046723"/>
              <a:gd name="connsiteY2" fmla="*/ 1206669 h 6858000"/>
              <a:gd name="connsiteX3" fmla="*/ 10586019 w 11046723"/>
              <a:gd name="connsiteY3" fmla="*/ 995058 h 6858000"/>
              <a:gd name="connsiteX4" fmla="*/ 10594661 w 11046723"/>
              <a:gd name="connsiteY4" fmla="*/ 1001698 h 6858000"/>
              <a:gd name="connsiteX5" fmla="*/ 10635916 w 11046723"/>
              <a:gd name="connsiteY5" fmla="*/ 1036517 h 6858000"/>
              <a:gd name="connsiteX6" fmla="*/ 10586019 w 11046723"/>
              <a:gd name="connsiteY6" fmla="*/ 995058 h 6858000"/>
              <a:gd name="connsiteX7" fmla="*/ 10333954 w 11046723"/>
              <a:gd name="connsiteY7" fmla="*/ 802539 h 6858000"/>
              <a:gd name="connsiteX8" fmla="*/ 10350933 w 11046723"/>
              <a:gd name="connsiteY8" fmla="*/ 814415 h 6858000"/>
              <a:gd name="connsiteX9" fmla="*/ 10404349 w 11046723"/>
              <a:gd name="connsiteY9" fmla="*/ 855460 h 6858000"/>
              <a:gd name="connsiteX10" fmla="*/ 10333954 w 11046723"/>
              <a:gd name="connsiteY10" fmla="*/ 802539 h 6858000"/>
              <a:gd name="connsiteX11" fmla="*/ 10157163 w 11046723"/>
              <a:gd name="connsiteY11" fmla="*/ 678888 h 6858000"/>
              <a:gd name="connsiteX12" fmla="*/ 10099498 w 11046723"/>
              <a:gd name="connsiteY12" fmla="*/ 638556 h 6858000"/>
              <a:gd name="connsiteX13" fmla="*/ 10157163 w 11046723"/>
              <a:gd name="connsiteY13" fmla="*/ 678888 h 6858000"/>
              <a:gd name="connsiteX14" fmla="*/ 5416523 w 11046723"/>
              <a:gd name="connsiteY14" fmla="*/ 392344 h 6858000"/>
              <a:gd name="connsiteX15" fmla="*/ 7023101 w 11046723"/>
              <a:gd name="connsiteY15" fmla="*/ 661672 h 6858000"/>
              <a:gd name="connsiteX16" fmla="*/ 9331960 w 11046723"/>
              <a:gd name="connsiteY16" fmla="*/ 2457451 h 6858000"/>
              <a:gd name="connsiteX17" fmla="*/ 10982484 w 11046723"/>
              <a:gd name="connsiteY17" fmla="*/ 4320382 h 6858000"/>
              <a:gd name="connsiteX18" fmla="*/ 11046723 w 11046723"/>
              <a:gd name="connsiteY18" fmla="*/ 4399855 h 6858000"/>
              <a:gd name="connsiteX19" fmla="*/ 10950686 w 11046723"/>
              <a:gd name="connsiteY19" fmla="*/ 4415959 h 6858000"/>
              <a:gd name="connsiteX20" fmla="*/ 9269729 w 11046723"/>
              <a:gd name="connsiteY20" fmla="*/ 5092699 h 6858000"/>
              <a:gd name="connsiteX21" fmla="*/ 8111807 w 11046723"/>
              <a:gd name="connsiteY21" fmla="*/ 6820535 h 6858000"/>
              <a:gd name="connsiteX22" fmla="*/ 8096827 w 11046723"/>
              <a:gd name="connsiteY22" fmla="*/ 6858000 h 6858000"/>
              <a:gd name="connsiteX23" fmla="*/ 0 w 11046723"/>
              <a:gd name="connsiteY23" fmla="*/ 6858000 h 6858000"/>
              <a:gd name="connsiteX24" fmla="*/ 0 w 11046723"/>
              <a:gd name="connsiteY24" fmla="*/ 1312476 h 6858000"/>
              <a:gd name="connsiteX25" fmla="*/ 393384 w 11046723"/>
              <a:gd name="connsiteY25" fmla="*/ 1170010 h 6858000"/>
              <a:gd name="connsiteX26" fmla="*/ 1790701 w 11046723"/>
              <a:gd name="connsiteY26" fmla="*/ 836932 h 6858000"/>
              <a:gd name="connsiteX27" fmla="*/ 5416523 w 11046723"/>
              <a:gd name="connsiteY27" fmla="*/ 392344 h 6858000"/>
              <a:gd name="connsiteX28" fmla="*/ 7788060 w 11046723"/>
              <a:gd name="connsiteY28" fmla="*/ 373174 h 6858000"/>
              <a:gd name="connsiteX29" fmla="*/ 7951989 w 11046723"/>
              <a:gd name="connsiteY29" fmla="*/ 496695 h 6858000"/>
              <a:gd name="connsiteX30" fmla="*/ 8131809 w 11046723"/>
              <a:gd name="connsiteY30" fmla="*/ 618490 h 6858000"/>
              <a:gd name="connsiteX31" fmla="*/ 10486389 w 11046723"/>
              <a:gd name="connsiteY31" fmla="*/ 1795780 h 6858000"/>
              <a:gd name="connsiteX32" fmla="*/ 8131810 w 11046723"/>
              <a:gd name="connsiteY32" fmla="*/ 619761 h 6858000"/>
              <a:gd name="connsiteX33" fmla="*/ 7927023 w 11046723"/>
              <a:gd name="connsiteY33" fmla="*/ 479920 h 6858000"/>
              <a:gd name="connsiteX34" fmla="*/ 7788060 w 11046723"/>
              <a:gd name="connsiteY34" fmla="*/ 373174 h 6858000"/>
              <a:gd name="connsiteX35" fmla="*/ 7778945 w 11046723"/>
              <a:gd name="connsiteY35" fmla="*/ 366172 h 6858000"/>
              <a:gd name="connsiteX36" fmla="*/ 7788060 w 11046723"/>
              <a:gd name="connsiteY36" fmla="*/ 373174 h 6858000"/>
              <a:gd name="connsiteX37" fmla="*/ 7780464 w 11046723"/>
              <a:gd name="connsiteY37" fmla="*/ 367450 h 6858000"/>
              <a:gd name="connsiteX38" fmla="*/ 7778945 w 11046723"/>
              <a:gd name="connsiteY38" fmla="*/ 366172 h 6858000"/>
              <a:gd name="connsiteX39" fmla="*/ 7544713 w 11046723"/>
              <a:gd name="connsiteY39" fmla="*/ 169063 h 6858000"/>
              <a:gd name="connsiteX40" fmla="*/ 7778945 w 11046723"/>
              <a:gd name="connsiteY40" fmla="*/ 366172 h 6858000"/>
              <a:gd name="connsiteX41" fmla="*/ 7732713 w 11046723"/>
              <a:gd name="connsiteY41" fmla="*/ 330658 h 6858000"/>
              <a:gd name="connsiteX42" fmla="*/ 7544713 w 11046723"/>
              <a:gd name="connsiteY42" fmla="*/ 169063 h 6858000"/>
              <a:gd name="connsiteX43" fmla="*/ 7414333 w 11046723"/>
              <a:gd name="connsiteY43" fmla="*/ 56995 h 6858000"/>
              <a:gd name="connsiteX44" fmla="*/ 7544713 w 11046723"/>
              <a:gd name="connsiteY44" fmla="*/ 169063 h 6858000"/>
              <a:gd name="connsiteX45" fmla="*/ 7454642 w 11046723"/>
              <a:gd name="connsiteY45" fmla="*/ 93267 h 6858000"/>
              <a:gd name="connsiteX46" fmla="*/ 7414333 w 11046723"/>
              <a:gd name="connsiteY46" fmla="*/ 56995 h 6858000"/>
              <a:gd name="connsiteX47" fmla="*/ 7348739 w 11046723"/>
              <a:gd name="connsiteY47" fmla="*/ 0 h 6858000"/>
              <a:gd name="connsiteX48" fmla="*/ 7350996 w 11046723"/>
              <a:gd name="connsiteY48" fmla="*/ 0 h 6858000"/>
              <a:gd name="connsiteX49" fmla="*/ 7414333 w 11046723"/>
              <a:gd name="connsiteY49" fmla="*/ 56995 h 6858000"/>
              <a:gd name="connsiteX50" fmla="*/ 7364096 w 11046723"/>
              <a:gd name="connsiteY50" fmla="*/ 13813 h 6858000"/>
              <a:gd name="connsiteX51" fmla="*/ 7348739 w 11046723"/>
              <a:gd name="connsiteY51" fmla="*/ 0 h 6858000"/>
              <a:gd name="connsiteX52" fmla="*/ 1493836 w 11046723"/>
              <a:gd name="connsiteY52" fmla="*/ 0 h 6858000"/>
              <a:gd name="connsiteX53" fmla="*/ 1493841 w 11046723"/>
              <a:gd name="connsiteY53" fmla="*/ 0 h 6858000"/>
              <a:gd name="connsiteX54" fmla="*/ 1318737 w 11046723"/>
              <a:gd name="connsiteY54" fmla="*/ 70646 h 6858000"/>
              <a:gd name="connsiteX55" fmla="*/ 1036321 w 11046723"/>
              <a:gd name="connsiteY55" fmla="*/ 194312 h 6858000"/>
              <a:gd name="connsiteX56" fmla="*/ 130672 w 11046723"/>
              <a:gd name="connsiteY56" fmla="*/ 671514 h 6858000"/>
              <a:gd name="connsiteX57" fmla="*/ 0 w 11046723"/>
              <a:gd name="connsiteY57" fmla="*/ 747683 h 6858000"/>
              <a:gd name="connsiteX58" fmla="*/ 0 w 11046723"/>
              <a:gd name="connsiteY58" fmla="*/ 747682 h 6858000"/>
              <a:gd name="connsiteX59" fmla="*/ 130672 w 11046723"/>
              <a:gd name="connsiteY59" fmla="*/ 671513 h 6858000"/>
              <a:gd name="connsiteX60" fmla="*/ 1036321 w 11046723"/>
              <a:gd name="connsiteY60" fmla="*/ 194310 h 6858000"/>
              <a:gd name="connsiteX61" fmla="*/ 1318737 w 11046723"/>
              <a:gd name="connsiteY61" fmla="*/ 70644 h 6858000"/>
              <a:gd name="connsiteX62" fmla="*/ 1493836 w 11046723"/>
              <a:gd name="connsiteY62" fmla="*/ 0 h 6858000"/>
              <a:gd name="connsiteX0" fmla="*/ 10586019 w 11046723"/>
              <a:gd name="connsiteY0" fmla="*/ 995058 h 6858000"/>
              <a:gd name="connsiteX1" fmla="*/ 10594661 w 11046723"/>
              <a:gd name="connsiteY1" fmla="*/ 1001698 h 6858000"/>
              <a:gd name="connsiteX2" fmla="*/ 10635916 w 11046723"/>
              <a:gd name="connsiteY2" fmla="*/ 1036517 h 6858000"/>
              <a:gd name="connsiteX3" fmla="*/ 10586019 w 11046723"/>
              <a:gd name="connsiteY3" fmla="*/ 995058 h 6858000"/>
              <a:gd name="connsiteX4" fmla="*/ 10333954 w 11046723"/>
              <a:gd name="connsiteY4" fmla="*/ 802539 h 6858000"/>
              <a:gd name="connsiteX5" fmla="*/ 10350933 w 11046723"/>
              <a:gd name="connsiteY5" fmla="*/ 814415 h 6858000"/>
              <a:gd name="connsiteX6" fmla="*/ 10404349 w 11046723"/>
              <a:gd name="connsiteY6" fmla="*/ 855460 h 6858000"/>
              <a:gd name="connsiteX7" fmla="*/ 10333954 w 11046723"/>
              <a:gd name="connsiteY7" fmla="*/ 802539 h 6858000"/>
              <a:gd name="connsiteX8" fmla="*/ 10157163 w 11046723"/>
              <a:gd name="connsiteY8" fmla="*/ 678888 h 6858000"/>
              <a:gd name="connsiteX9" fmla="*/ 10099498 w 11046723"/>
              <a:gd name="connsiteY9" fmla="*/ 638556 h 6858000"/>
              <a:gd name="connsiteX10" fmla="*/ 10157163 w 11046723"/>
              <a:gd name="connsiteY10" fmla="*/ 678888 h 6858000"/>
              <a:gd name="connsiteX11" fmla="*/ 5416523 w 11046723"/>
              <a:gd name="connsiteY11" fmla="*/ 392344 h 6858000"/>
              <a:gd name="connsiteX12" fmla="*/ 7023101 w 11046723"/>
              <a:gd name="connsiteY12" fmla="*/ 661672 h 6858000"/>
              <a:gd name="connsiteX13" fmla="*/ 9331960 w 11046723"/>
              <a:gd name="connsiteY13" fmla="*/ 2457451 h 6858000"/>
              <a:gd name="connsiteX14" fmla="*/ 10982484 w 11046723"/>
              <a:gd name="connsiteY14" fmla="*/ 4320382 h 6858000"/>
              <a:gd name="connsiteX15" fmla="*/ 11046723 w 11046723"/>
              <a:gd name="connsiteY15" fmla="*/ 4399855 h 6858000"/>
              <a:gd name="connsiteX16" fmla="*/ 10950686 w 11046723"/>
              <a:gd name="connsiteY16" fmla="*/ 4415959 h 6858000"/>
              <a:gd name="connsiteX17" fmla="*/ 9269729 w 11046723"/>
              <a:gd name="connsiteY17" fmla="*/ 5092699 h 6858000"/>
              <a:gd name="connsiteX18" fmla="*/ 8111807 w 11046723"/>
              <a:gd name="connsiteY18" fmla="*/ 6820535 h 6858000"/>
              <a:gd name="connsiteX19" fmla="*/ 8096827 w 11046723"/>
              <a:gd name="connsiteY19" fmla="*/ 6858000 h 6858000"/>
              <a:gd name="connsiteX20" fmla="*/ 0 w 11046723"/>
              <a:gd name="connsiteY20" fmla="*/ 6858000 h 6858000"/>
              <a:gd name="connsiteX21" fmla="*/ 0 w 11046723"/>
              <a:gd name="connsiteY21" fmla="*/ 1312476 h 6858000"/>
              <a:gd name="connsiteX22" fmla="*/ 393384 w 11046723"/>
              <a:gd name="connsiteY22" fmla="*/ 1170010 h 6858000"/>
              <a:gd name="connsiteX23" fmla="*/ 1790701 w 11046723"/>
              <a:gd name="connsiteY23" fmla="*/ 836932 h 6858000"/>
              <a:gd name="connsiteX24" fmla="*/ 5416523 w 11046723"/>
              <a:gd name="connsiteY24" fmla="*/ 392344 h 6858000"/>
              <a:gd name="connsiteX25" fmla="*/ 7788060 w 11046723"/>
              <a:gd name="connsiteY25" fmla="*/ 373174 h 6858000"/>
              <a:gd name="connsiteX26" fmla="*/ 7951989 w 11046723"/>
              <a:gd name="connsiteY26" fmla="*/ 496695 h 6858000"/>
              <a:gd name="connsiteX27" fmla="*/ 8131809 w 11046723"/>
              <a:gd name="connsiteY27" fmla="*/ 618490 h 6858000"/>
              <a:gd name="connsiteX28" fmla="*/ 10486389 w 11046723"/>
              <a:gd name="connsiteY28" fmla="*/ 1795780 h 6858000"/>
              <a:gd name="connsiteX29" fmla="*/ 8131810 w 11046723"/>
              <a:gd name="connsiteY29" fmla="*/ 619761 h 6858000"/>
              <a:gd name="connsiteX30" fmla="*/ 7927023 w 11046723"/>
              <a:gd name="connsiteY30" fmla="*/ 479920 h 6858000"/>
              <a:gd name="connsiteX31" fmla="*/ 7788060 w 11046723"/>
              <a:gd name="connsiteY31" fmla="*/ 373174 h 6858000"/>
              <a:gd name="connsiteX32" fmla="*/ 7778945 w 11046723"/>
              <a:gd name="connsiteY32" fmla="*/ 366172 h 6858000"/>
              <a:gd name="connsiteX33" fmla="*/ 7788060 w 11046723"/>
              <a:gd name="connsiteY33" fmla="*/ 373174 h 6858000"/>
              <a:gd name="connsiteX34" fmla="*/ 7780464 w 11046723"/>
              <a:gd name="connsiteY34" fmla="*/ 367450 h 6858000"/>
              <a:gd name="connsiteX35" fmla="*/ 7778945 w 11046723"/>
              <a:gd name="connsiteY35" fmla="*/ 366172 h 6858000"/>
              <a:gd name="connsiteX36" fmla="*/ 7544713 w 11046723"/>
              <a:gd name="connsiteY36" fmla="*/ 169063 h 6858000"/>
              <a:gd name="connsiteX37" fmla="*/ 7778945 w 11046723"/>
              <a:gd name="connsiteY37" fmla="*/ 366172 h 6858000"/>
              <a:gd name="connsiteX38" fmla="*/ 7732713 w 11046723"/>
              <a:gd name="connsiteY38" fmla="*/ 330658 h 6858000"/>
              <a:gd name="connsiteX39" fmla="*/ 7544713 w 11046723"/>
              <a:gd name="connsiteY39" fmla="*/ 169063 h 6858000"/>
              <a:gd name="connsiteX40" fmla="*/ 7414333 w 11046723"/>
              <a:gd name="connsiteY40" fmla="*/ 56995 h 6858000"/>
              <a:gd name="connsiteX41" fmla="*/ 7544713 w 11046723"/>
              <a:gd name="connsiteY41" fmla="*/ 169063 h 6858000"/>
              <a:gd name="connsiteX42" fmla="*/ 7454642 w 11046723"/>
              <a:gd name="connsiteY42" fmla="*/ 93267 h 6858000"/>
              <a:gd name="connsiteX43" fmla="*/ 7414333 w 11046723"/>
              <a:gd name="connsiteY43" fmla="*/ 56995 h 6858000"/>
              <a:gd name="connsiteX44" fmla="*/ 7348739 w 11046723"/>
              <a:gd name="connsiteY44" fmla="*/ 0 h 6858000"/>
              <a:gd name="connsiteX45" fmla="*/ 7350996 w 11046723"/>
              <a:gd name="connsiteY45" fmla="*/ 0 h 6858000"/>
              <a:gd name="connsiteX46" fmla="*/ 7414333 w 11046723"/>
              <a:gd name="connsiteY46" fmla="*/ 56995 h 6858000"/>
              <a:gd name="connsiteX47" fmla="*/ 7364096 w 11046723"/>
              <a:gd name="connsiteY47" fmla="*/ 13813 h 6858000"/>
              <a:gd name="connsiteX48" fmla="*/ 7348739 w 11046723"/>
              <a:gd name="connsiteY48" fmla="*/ 0 h 6858000"/>
              <a:gd name="connsiteX49" fmla="*/ 1493836 w 11046723"/>
              <a:gd name="connsiteY49" fmla="*/ 0 h 6858000"/>
              <a:gd name="connsiteX50" fmla="*/ 1493841 w 11046723"/>
              <a:gd name="connsiteY50" fmla="*/ 0 h 6858000"/>
              <a:gd name="connsiteX51" fmla="*/ 1318737 w 11046723"/>
              <a:gd name="connsiteY51" fmla="*/ 70646 h 6858000"/>
              <a:gd name="connsiteX52" fmla="*/ 1036321 w 11046723"/>
              <a:gd name="connsiteY52" fmla="*/ 194312 h 6858000"/>
              <a:gd name="connsiteX53" fmla="*/ 130672 w 11046723"/>
              <a:gd name="connsiteY53" fmla="*/ 671514 h 6858000"/>
              <a:gd name="connsiteX54" fmla="*/ 0 w 11046723"/>
              <a:gd name="connsiteY54" fmla="*/ 747683 h 6858000"/>
              <a:gd name="connsiteX55" fmla="*/ 0 w 11046723"/>
              <a:gd name="connsiteY55" fmla="*/ 747682 h 6858000"/>
              <a:gd name="connsiteX56" fmla="*/ 130672 w 11046723"/>
              <a:gd name="connsiteY56" fmla="*/ 671513 h 6858000"/>
              <a:gd name="connsiteX57" fmla="*/ 1036321 w 11046723"/>
              <a:gd name="connsiteY57" fmla="*/ 194310 h 6858000"/>
              <a:gd name="connsiteX58" fmla="*/ 1318737 w 11046723"/>
              <a:gd name="connsiteY58" fmla="*/ 70644 h 6858000"/>
              <a:gd name="connsiteX59" fmla="*/ 1493836 w 11046723"/>
              <a:gd name="connsiteY59" fmla="*/ 0 h 6858000"/>
              <a:gd name="connsiteX0" fmla="*/ 10635916 w 11046723"/>
              <a:gd name="connsiteY0" fmla="*/ 1036517 h 6858000"/>
              <a:gd name="connsiteX1" fmla="*/ 10594661 w 11046723"/>
              <a:gd name="connsiteY1" fmla="*/ 1001698 h 6858000"/>
              <a:gd name="connsiteX2" fmla="*/ 10635916 w 11046723"/>
              <a:gd name="connsiteY2" fmla="*/ 1036517 h 6858000"/>
              <a:gd name="connsiteX3" fmla="*/ 10333954 w 11046723"/>
              <a:gd name="connsiteY3" fmla="*/ 802539 h 6858000"/>
              <a:gd name="connsiteX4" fmla="*/ 10350933 w 11046723"/>
              <a:gd name="connsiteY4" fmla="*/ 814415 h 6858000"/>
              <a:gd name="connsiteX5" fmla="*/ 10404349 w 11046723"/>
              <a:gd name="connsiteY5" fmla="*/ 855460 h 6858000"/>
              <a:gd name="connsiteX6" fmla="*/ 10333954 w 11046723"/>
              <a:gd name="connsiteY6" fmla="*/ 802539 h 6858000"/>
              <a:gd name="connsiteX7" fmla="*/ 10157163 w 11046723"/>
              <a:gd name="connsiteY7" fmla="*/ 678888 h 6858000"/>
              <a:gd name="connsiteX8" fmla="*/ 10099498 w 11046723"/>
              <a:gd name="connsiteY8" fmla="*/ 638556 h 6858000"/>
              <a:gd name="connsiteX9" fmla="*/ 10157163 w 11046723"/>
              <a:gd name="connsiteY9" fmla="*/ 678888 h 6858000"/>
              <a:gd name="connsiteX10" fmla="*/ 5416523 w 11046723"/>
              <a:gd name="connsiteY10" fmla="*/ 392344 h 6858000"/>
              <a:gd name="connsiteX11" fmla="*/ 7023101 w 11046723"/>
              <a:gd name="connsiteY11" fmla="*/ 661672 h 6858000"/>
              <a:gd name="connsiteX12" fmla="*/ 9331960 w 11046723"/>
              <a:gd name="connsiteY12" fmla="*/ 2457451 h 6858000"/>
              <a:gd name="connsiteX13" fmla="*/ 10982484 w 11046723"/>
              <a:gd name="connsiteY13" fmla="*/ 4320382 h 6858000"/>
              <a:gd name="connsiteX14" fmla="*/ 11046723 w 11046723"/>
              <a:gd name="connsiteY14" fmla="*/ 4399855 h 6858000"/>
              <a:gd name="connsiteX15" fmla="*/ 10950686 w 11046723"/>
              <a:gd name="connsiteY15" fmla="*/ 4415959 h 6858000"/>
              <a:gd name="connsiteX16" fmla="*/ 9269729 w 11046723"/>
              <a:gd name="connsiteY16" fmla="*/ 5092699 h 6858000"/>
              <a:gd name="connsiteX17" fmla="*/ 8111807 w 11046723"/>
              <a:gd name="connsiteY17" fmla="*/ 6820535 h 6858000"/>
              <a:gd name="connsiteX18" fmla="*/ 8096827 w 11046723"/>
              <a:gd name="connsiteY18" fmla="*/ 6858000 h 6858000"/>
              <a:gd name="connsiteX19" fmla="*/ 0 w 11046723"/>
              <a:gd name="connsiteY19" fmla="*/ 6858000 h 6858000"/>
              <a:gd name="connsiteX20" fmla="*/ 0 w 11046723"/>
              <a:gd name="connsiteY20" fmla="*/ 1312476 h 6858000"/>
              <a:gd name="connsiteX21" fmla="*/ 393384 w 11046723"/>
              <a:gd name="connsiteY21" fmla="*/ 1170010 h 6858000"/>
              <a:gd name="connsiteX22" fmla="*/ 1790701 w 11046723"/>
              <a:gd name="connsiteY22" fmla="*/ 836932 h 6858000"/>
              <a:gd name="connsiteX23" fmla="*/ 5416523 w 11046723"/>
              <a:gd name="connsiteY23" fmla="*/ 392344 h 6858000"/>
              <a:gd name="connsiteX24" fmla="*/ 7788060 w 11046723"/>
              <a:gd name="connsiteY24" fmla="*/ 373174 h 6858000"/>
              <a:gd name="connsiteX25" fmla="*/ 7951989 w 11046723"/>
              <a:gd name="connsiteY25" fmla="*/ 496695 h 6858000"/>
              <a:gd name="connsiteX26" fmla="*/ 8131809 w 11046723"/>
              <a:gd name="connsiteY26" fmla="*/ 618490 h 6858000"/>
              <a:gd name="connsiteX27" fmla="*/ 10486389 w 11046723"/>
              <a:gd name="connsiteY27" fmla="*/ 1795780 h 6858000"/>
              <a:gd name="connsiteX28" fmla="*/ 8131810 w 11046723"/>
              <a:gd name="connsiteY28" fmla="*/ 619761 h 6858000"/>
              <a:gd name="connsiteX29" fmla="*/ 7927023 w 11046723"/>
              <a:gd name="connsiteY29" fmla="*/ 479920 h 6858000"/>
              <a:gd name="connsiteX30" fmla="*/ 7788060 w 11046723"/>
              <a:gd name="connsiteY30" fmla="*/ 373174 h 6858000"/>
              <a:gd name="connsiteX31" fmla="*/ 7778945 w 11046723"/>
              <a:gd name="connsiteY31" fmla="*/ 366172 h 6858000"/>
              <a:gd name="connsiteX32" fmla="*/ 7788060 w 11046723"/>
              <a:gd name="connsiteY32" fmla="*/ 373174 h 6858000"/>
              <a:gd name="connsiteX33" fmla="*/ 7780464 w 11046723"/>
              <a:gd name="connsiteY33" fmla="*/ 367450 h 6858000"/>
              <a:gd name="connsiteX34" fmla="*/ 7778945 w 11046723"/>
              <a:gd name="connsiteY34" fmla="*/ 366172 h 6858000"/>
              <a:gd name="connsiteX35" fmla="*/ 7544713 w 11046723"/>
              <a:gd name="connsiteY35" fmla="*/ 169063 h 6858000"/>
              <a:gd name="connsiteX36" fmla="*/ 7778945 w 11046723"/>
              <a:gd name="connsiteY36" fmla="*/ 366172 h 6858000"/>
              <a:gd name="connsiteX37" fmla="*/ 7732713 w 11046723"/>
              <a:gd name="connsiteY37" fmla="*/ 330658 h 6858000"/>
              <a:gd name="connsiteX38" fmla="*/ 7544713 w 11046723"/>
              <a:gd name="connsiteY38" fmla="*/ 169063 h 6858000"/>
              <a:gd name="connsiteX39" fmla="*/ 7414333 w 11046723"/>
              <a:gd name="connsiteY39" fmla="*/ 56995 h 6858000"/>
              <a:gd name="connsiteX40" fmla="*/ 7544713 w 11046723"/>
              <a:gd name="connsiteY40" fmla="*/ 169063 h 6858000"/>
              <a:gd name="connsiteX41" fmla="*/ 7454642 w 11046723"/>
              <a:gd name="connsiteY41" fmla="*/ 93267 h 6858000"/>
              <a:gd name="connsiteX42" fmla="*/ 7414333 w 11046723"/>
              <a:gd name="connsiteY42" fmla="*/ 56995 h 6858000"/>
              <a:gd name="connsiteX43" fmla="*/ 7348739 w 11046723"/>
              <a:gd name="connsiteY43" fmla="*/ 0 h 6858000"/>
              <a:gd name="connsiteX44" fmla="*/ 7350996 w 11046723"/>
              <a:gd name="connsiteY44" fmla="*/ 0 h 6858000"/>
              <a:gd name="connsiteX45" fmla="*/ 7414333 w 11046723"/>
              <a:gd name="connsiteY45" fmla="*/ 56995 h 6858000"/>
              <a:gd name="connsiteX46" fmla="*/ 7364096 w 11046723"/>
              <a:gd name="connsiteY46" fmla="*/ 13813 h 6858000"/>
              <a:gd name="connsiteX47" fmla="*/ 7348739 w 11046723"/>
              <a:gd name="connsiteY47" fmla="*/ 0 h 6858000"/>
              <a:gd name="connsiteX48" fmla="*/ 1493836 w 11046723"/>
              <a:gd name="connsiteY48" fmla="*/ 0 h 6858000"/>
              <a:gd name="connsiteX49" fmla="*/ 1493841 w 11046723"/>
              <a:gd name="connsiteY49" fmla="*/ 0 h 6858000"/>
              <a:gd name="connsiteX50" fmla="*/ 1318737 w 11046723"/>
              <a:gd name="connsiteY50" fmla="*/ 70646 h 6858000"/>
              <a:gd name="connsiteX51" fmla="*/ 1036321 w 11046723"/>
              <a:gd name="connsiteY51" fmla="*/ 194312 h 6858000"/>
              <a:gd name="connsiteX52" fmla="*/ 130672 w 11046723"/>
              <a:gd name="connsiteY52" fmla="*/ 671514 h 6858000"/>
              <a:gd name="connsiteX53" fmla="*/ 0 w 11046723"/>
              <a:gd name="connsiteY53" fmla="*/ 747683 h 6858000"/>
              <a:gd name="connsiteX54" fmla="*/ 0 w 11046723"/>
              <a:gd name="connsiteY54" fmla="*/ 747682 h 6858000"/>
              <a:gd name="connsiteX55" fmla="*/ 130672 w 11046723"/>
              <a:gd name="connsiteY55" fmla="*/ 671513 h 6858000"/>
              <a:gd name="connsiteX56" fmla="*/ 1036321 w 11046723"/>
              <a:gd name="connsiteY56" fmla="*/ 194310 h 6858000"/>
              <a:gd name="connsiteX57" fmla="*/ 1318737 w 11046723"/>
              <a:gd name="connsiteY57" fmla="*/ 70644 h 6858000"/>
              <a:gd name="connsiteX58" fmla="*/ 1493836 w 11046723"/>
              <a:gd name="connsiteY58" fmla="*/ 0 h 6858000"/>
              <a:gd name="connsiteX0" fmla="*/ 10333954 w 11046723"/>
              <a:gd name="connsiteY0" fmla="*/ 802539 h 6858000"/>
              <a:gd name="connsiteX1" fmla="*/ 10350933 w 11046723"/>
              <a:gd name="connsiteY1" fmla="*/ 814415 h 6858000"/>
              <a:gd name="connsiteX2" fmla="*/ 10404349 w 11046723"/>
              <a:gd name="connsiteY2" fmla="*/ 855460 h 6858000"/>
              <a:gd name="connsiteX3" fmla="*/ 10333954 w 11046723"/>
              <a:gd name="connsiteY3" fmla="*/ 802539 h 6858000"/>
              <a:gd name="connsiteX4" fmla="*/ 10157163 w 11046723"/>
              <a:gd name="connsiteY4" fmla="*/ 678888 h 6858000"/>
              <a:gd name="connsiteX5" fmla="*/ 10099498 w 11046723"/>
              <a:gd name="connsiteY5" fmla="*/ 638556 h 6858000"/>
              <a:gd name="connsiteX6" fmla="*/ 10157163 w 11046723"/>
              <a:gd name="connsiteY6" fmla="*/ 678888 h 6858000"/>
              <a:gd name="connsiteX7" fmla="*/ 5416523 w 11046723"/>
              <a:gd name="connsiteY7" fmla="*/ 392344 h 6858000"/>
              <a:gd name="connsiteX8" fmla="*/ 7023101 w 11046723"/>
              <a:gd name="connsiteY8" fmla="*/ 661672 h 6858000"/>
              <a:gd name="connsiteX9" fmla="*/ 9331960 w 11046723"/>
              <a:gd name="connsiteY9" fmla="*/ 2457451 h 6858000"/>
              <a:gd name="connsiteX10" fmla="*/ 10982484 w 11046723"/>
              <a:gd name="connsiteY10" fmla="*/ 4320382 h 6858000"/>
              <a:gd name="connsiteX11" fmla="*/ 11046723 w 11046723"/>
              <a:gd name="connsiteY11" fmla="*/ 4399855 h 6858000"/>
              <a:gd name="connsiteX12" fmla="*/ 10950686 w 11046723"/>
              <a:gd name="connsiteY12" fmla="*/ 4415959 h 6858000"/>
              <a:gd name="connsiteX13" fmla="*/ 9269729 w 11046723"/>
              <a:gd name="connsiteY13" fmla="*/ 5092699 h 6858000"/>
              <a:gd name="connsiteX14" fmla="*/ 8111807 w 11046723"/>
              <a:gd name="connsiteY14" fmla="*/ 6820535 h 6858000"/>
              <a:gd name="connsiteX15" fmla="*/ 8096827 w 11046723"/>
              <a:gd name="connsiteY15" fmla="*/ 6858000 h 6858000"/>
              <a:gd name="connsiteX16" fmla="*/ 0 w 11046723"/>
              <a:gd name="connsiteY16" fmla="*/ 6858000 h 6858000"/>
              <a:gd name="connsiteX17" fmla="*/ 0 w 11046723"/>
              <a:gd name="connsiteY17" fmla="*/ 1312476 h 6858000"/>
              <a:gd name="connsiteX18" fmla="*/ 393384 w 11046723"/>
              <a:gd name="connsiteY18" fmla="*/ 1170010 h 6858000"/>
              <a:gd name="connsiteX19" fmla="*/ 1790701 w 11046723"/>
              <a:gd name="connsiteY19" fmla="*/ 836932 h 6858000"/>
              <a:gd name="connsiteX20" fmla="*/ 5416523 w 11046723"/>
              <a:gd name="connsiteY20" fmla="*/ 392344 h 6858000"/>
              <a:gd name="connsiteX21" fmla="*/ 7788060 w 11046723"/>
              <a:gd name="connsiteY21" fmla="*/ 373174 h 6858000"/>
              <a:gd name="connsiteX22" fmla="*/ 7951989 w 11046723"/>
              <a:gd name="connsiteY22" fmla="*/ 496695 h 6858000"/>
              <a:gd name="connsiteX23" fmla="*/ 8131809 w 11046723"/>
              <a:gd name="connsiteY23" fmla="*/ 618490 h 6858000"/>
              <a:gd name="connsiteX24" fmla="*/ 10486389 w 11046723"/>
              <a:gd name="connsiteY24" fmla="*/ 1795780 h 6858000"/>
              <a:gd name="connsiteX25" fmla="*/ 8131810 w 11046723"/>
              <a:gd name="connsiteY25" fmla="*/ 619761 h 6858000"/>
              <a:gd name="connsiteX26" fmla="*/ 7927023 w 11046723"/>
              <a:gd name="connsiteY26" fmla="*/ 479920 h 6858000"/>
              <a:gd name="connsiteX27" fmla="*/ 7788060 w 11046723"/>
              <a:gd name="connsiteY27" fmla="*/ 373174 h 6858000"/>
              <a:gd name="connsiteX28" fmla="*/ 7778945 w 11046723"/>
              <a:gd name="connsiteY28" fmla="*/ 366172 h 6858000"/>
              <a:gd name="connsiteX29" fmla="*/ 7788060 w 11046723"/>
              <a:gd name="connsiteY29" fmla="*/ 373174 h 6858000"/>
              <a:gd name="connsiteX30" fmla="*/ 7780464 w 11046723"/>
              <a:gd name="connsiteY30" fmla="*/ 367450 h 6858000"/>
              <a:gd name="connsiteX31" fmla="*/ 7778945 w 11046723"/>
              <a:gd name="connsiteY31" fmla="*/ 366172 h 6858000"/>
              <a:gd name="connsiteX32" fmla="*/ 7544713 w 11046723"/>
              <a:gd name="connsiteY32" fmla="*/ 169063 h 6858000"/>
              <a:gd name="connsiteX33" fmla="*/ 7778945 w 11046723"/>
              <a:gd name="connsiteY33" fmla="*/ 366172 h 6858000"/>
              <a:gd name="connsiteX34" fmla="*/ 7732713 w 11046723"/>
              <a:gd name="connsiteY34" fmla="*/ 330658 h 6858000"/>
              <a:gd name="connsiteX35" fmla="*/ 7544713 w 11046723"/>
              <a:gd name="connsiteY35" fmla="*/ 169063 h 6858000"/>
              <a:gd name="connsiteX36" fmla="*/ 7414333 w 11046723"/>
              <a:gd name="connsiteY36" fmla="*/ 56995 h 6858000"/>
              <a:gd name="connsiteX37" fmla="*/ 7544713 w 11046723"/>
              <a:gd name="connsiteY37" fmla="*/ 169063 h 6858000"/>
              <a:gd name="connsiteX38" fmla="*/ 7454642 w 11046723"/>
              <a:gd name="connsiteY38" fmla="*/ 93267 h 6858000"/>
              <a:gd name="connsiteX39" fmla="*/ 7414333 w 11046723"/>
              <a:gd name="connsiteY39" fmla="*/ 56995 h 6858000"/>
              <a:gd name="connsiteX40" fmla="*/ 7348739 w 11046723"/>
              <a:gd name="connsiteY40" fmla="*/ 0 h 6858000"/>
              <a:gd name="connsiteX41" fmla="*/ 7350996 w 11046723"/>
              <a:gd name="connsiteY41" fmla="*/ 0 h 6858000"/>
              <a:gd name="connsiteX42" fmla="*/ 7414333 w 11046723"/>
              <a:gd name="connsiteY42" fmla="*/ 56995 h 6858000"/>
              <a:gd name="connsiteX43" fmla="*/ 7364096 w 11046723"/>
              <a:gd name="connsiteY43" fmla="*/ 13813 h 6858000"/>
              <a:gd name="connsiteX44" fmla="*/ 7348739 w 11046723"/>
              <a:gd name="connsiteY44" fmla="*/ 0 h 6858000"/>
              <a:gd name="connsiteX45" fmla="*/ 1493836 w 11046723"/>
              <a:gd name="connsiteY45" fmla="*/ 0 h 6858000"/>
              <a:gd name="connsiteX46" fmla="*/ 1493841 w 11046723"/>
              <a:gd name="connsiteY46" fmla="*/ 0 h 6858000"/>
              <a:gd name="connsiteX47" fmla="*/ 1318737 w 11046723"/>
              <a:gd name="connsiteY47" fmla="*/ 70646 h 6858000"/>
              <a:gd name="connsiteX48" fmla="*/ 1036321 w 11046723"/>
              <a:gd name="connsiteY48" fmla="*/ 194312 h 6858000"/>
              <a:gd name="connsiteX49" fmla="*/ 130672 w 11046723"/>
              <a:gd name="connsiteY49" fmla="*/ 671514 h 6858000"/>
              <a:gd name="connsiteX50" fmla="*/ 0 w 11046723"/>
              <a:gd name="connsiteY50" fmla="*/ 747683 h 6858000"/>
              <a:gd name="connsiteX51" fmla="*/ 0 w 11046723"/>
              <a:gd name="connsiteY51" fmla="*/ 747682 h 6858000"/>
              <a:gd name="connsiteX52" fmla="*/ 130672 w 11046723"/>
              <a:gd name="connsiteY52" fmla="*/ 671513 h 6858000"/>
              <a:gd name="connsiteX53" fmla="*/ 1036321 w 11046723"/>
              <a:gd name="connsiteY53" fmla="*/ 194310 h 6858000"/>
              <a:gd name="connsiteX54" fmla="*/ 1318737 w 11046723"/>
              <a:gd name="connsiteY54" fmla="*/ 70644 h 6858000"/>
              <a:gd name="connsiteX55" fmla="*/ 1493836 w 11046723"/>
              <a:gd name="connsiteY55" fmla="*/ 0 h 6858000"/>
              <a:gd name="connsiteX0" fmla="*/ 10404349 w 11046723"/>
              <a:gd name="connsiteY0" fmla="*/ 855460 h 6858000"/>
              <a:gd name="connsiteX1" fmla="*/ 10350933 w 11046723"/>
              <a:gd name="connsiteY1" fmla="*/ 814415 h 6858000"/>
              <a:gd name="connsiteX2" fmla="*/ 10404349 w 11046723"/>
              <a:gd name="connsiteY2" fmla="*/ 855460 h 6858000"/>
              <a:gd name="connsiteX3" fmla="*/ 10157163 w 11046723"/>
              <a:gd name="connsiteY3" fmla="*/ 678888 h 6858000"/>
              <a:gd name="connsiteX4" fmla="*/ 10099498 w 11046723"/>
              <a:gd name="connsiteY4" fmla="*/ 638556 h 6858000"/>
              <a:gd name="connsiteX5" fmla="*/ 10157163 w 11046723"/>
              <a:gd name="connsiteY5" fmla="*/ 678888 h 6858000"/>
              <a:gd name="connsiteX6" fmla="*/ 5416523 w 11046723"/>
              <a:gd name="connsiteY6" fmla="*/ 392344 h 6858000"/>
              <a:gd name="connsiteX7" fmla="*/ 7023101 w 11046723"/>
              <a:gd name="connsiteY7" fmla="*/ 661672 h 6858000"/>
              <a:gd name="connsiteX8" fmla="*/ 9331960 w 11046723"/>
              <a:gd name="connsiteY8" fmla="*/ 2457451 h 6858000"/>
              <a:gd name="connsiteX9" fmla="*/ 10982484 w 11046723"/>
              <a:gd name="connsiteY9" fmla="*/ 4320382 h 6858000"/>
              <a:gd name="connsiteX10" fmla="*/ 11046723 w 11046723"/>
              <a:gd name="connsiteY10" fmla="*/ 4399855 h 6858000"/>
              <a:gd name="connsiteX11" fmla="*/ 10950686 w 11046723"/>
              <a:gd name="connsiteY11" fmla="*/ 4415959 h 6858000"/>
              <a:gd name="connsiteX12" fmla="*/ 9269729 w 11046723"/>
              <a:gd name="connsiteY12" fmla="*/ 5092699 h 6858000"/>
              <a:gd name="connsiteX13" fmla="*/ 8111807 w 11046723"/>
              <a:gd name="connsiteY13" fmla="*/ 6820535 h 6858000"/>
              <a:gd name="connsiteX14" fmla="*/ 8096827 w 11046723"/>
              <a:gd name="connsiteY14" fmla="*/ 6858000 h 6858000"/>
              <a:gd name="connsiteX15" fmla="*/ 0 w 11046723"/>
              <a:gd name="connsiteY15" fmla="*/ 6858000 h 6858000"/>
              <a:gd name="connsiteX16" fmla="*/ 0 w 11046723"/>
              <a:gd name="connsiteY16" fmla="*/ 1312476 h 6858000"/>
              <a:gd name="connsiteX17" fmla="*/ 393384 w 11046723"/>
              <a:gd name="connsiteY17" fmla="*/ 1170010 h 6858000"/>
              <a:gd name="connsiteX18" fmla="*/ 1790701 w 11046723"/>
              <a:gd name="connsiteY18" fmla="*/ 836932 h 6858000"/>
              <a:gd name="connsiteX19" fmla="*/ 5416523 w 11046723"/>
              <a:gd name="connsiteY19" fmla="*/ 392344 h 6858000"/>
              <a:gd name="connsiteX20" fmla="*/ 7788060 w 11046723"/>
              <a:gd name="connsiteY20" fmla="*/ 373174 h 6858000"/>
              <a:gd name="connsiteX21" fmla="*/ 7951989 w 11046723"/>
              <a:gd name="connsiteY21" fmla="*/ 496695 h 6858000"/>
              <a:gd name="connsiteX22" fmla="*/ 8131809 w 11046723"/>
              <a:gd name="connsiteY22" fmla="*/ 618490 h 6858000"/>
              <a:gd name="connsiteX23" fmla="*/ 10486389 w 11046723"/>
              <a:gd name="connsiteY23" fmla="*/ 1795780 h 6858000"/>
              <a:gd name="connsiteX24" fmla="*/ 8131810 w 11046723"/>
              <a:gd name="connsiteY24" fmla="*/ 619761 h 6858000"/>
              <a:gd name="connsiteX25" fmla="*/ 7927023 w 11046723"/>
              <a:gd name="connsiteY25" fmla="*/ 479920 h 6858000"/>
              <a:gd name="connsiteX26" fmla="*/ 7788060 w 11046723"/>
              <a:gd name="connsiteY26" fmla="*/ 373174 h 6858000"/>
              <a:gd name="connsiteX27" fmla="*/ 7778945 w 11046723"/>
              <a:gd name="connsiteY27" fmla="*/ 366172 h 6858000"/>
              <a:gd name="connsiteX28" fmla="*/ 7788060 w 11046723"/>
              <a:gd name="connsiteY28" fmla="*/ 373174 h 6858000"/>
              <a:gd name="connsiteX29" fmla="*/ 7780464 w 11046723"/>
              <a:gd name="connsiteY29" fmla="*/ 367450 h 6858000"/>
              <a:gd name="connsiteX30" fmla="*/ 7778945 w 11046723"/>
              <a:gd name="connsiteY30" fmla="*/ 366172 h 6858000"/>
              <a:gd name="connsiteX31" fmla="*/ 7544713 w 11046723"/>
              <a:gd name="connsiteY31" fmla="*/ 169063 h 6858000"/>
              <a:gd name="connsiteX32" fmla="*/ 7778945 w 11046723"/>
              <a:gd name="connsiteY32" fmla="*/ 366172 h 6858000"/>
              <a:gd name="connsiteX33" fmla="*/ 7732713 w 11046723"/>
              <a:gd name="connsiteY33" fmla="*/ 330658 h 6858000"/>
              <a:gd name="connsiteX34" fmla="*/ 7544713 w 11046723"/>
              <a:gd name="connsiteY34" fmla="*/ 169063 h 6858000"/>
              <a:gd name="connsiteX35" fmla="*/ 7414333 w 11046723"/>
              <a:gd name="connsiteY35" fmla="*/ 56995 h 6858000"/>
              <a:gd name="connsiteX36" fmla="*/ 7544713 w 11046723"/>
              <a:gd name="connsiteY36" fmla="*/ 169063 h 6858000"/>
              <a:gd name="connsiteX37" fmla="*/ 7454642 w 11046723"/>
              <a:gd name="connsiteY37" fmla="*/ 93267 h 6858000"/>
              <a:gd name="connsiteX38" fmla="*/ 7414333 w 11046723"/>
              <a:gd name="connsiteY38" fmla="*/ 56995 h 6858000"/>
              <a:gd name="connsiteX39" fmla="*/ 7348739 w 11046723"/>
              <a:gd name="connsiteY39" fmla="*/ 0 h 6858000"/>
              <a:gd name="connsiteX40" fmla="*/ 7350996 w 11046723"/>
              <a:gd name="connsiteY40" fmla="*/ 0 h 6858000"/>
              <a:gd name="connsiteX41" fmla="*/ 7414333 w 11046723"/>
              <a:gd name="connsiteY41" fmla="*/ 56995 h 6858000"/>
              <a:gd name="connsiteX42" fmla="*/ 7364096 w 11046723"/>
              <a:gd name="connsiteY42" fmla="*/ 13813 h 6858000"/>
              <a:gd name="connsiteX43" fmla="*/ 7348739 w 11046723"/>
              <a:gd name="connsiteY43" fmla="*/ 0 h 6858000"/>
              <a:gd name="connsiteX44" fmla="*/ 1493836 w 11046723"/>
              <a:gd name="connsiteY44" fmla="*/ 0 h 6858000"/>
              <a:gd name="connsiteX45" fmla="*/ 1493841 w 11046723"/>
              <a:gd name="connsiteY45" fmla="*/ 0 h 6858000"/>
              <a:gd name="connsiteX46" fmla="*/ 1318737 w 11046723"/>
              <a:gd name="connsiteY46" fmla="*/ 70646 h 6858000"/>
              <a:gd name="connsiteX47" fmla="*/ 1036321 w 11046723"/>
              <a:gd name="connsiteY47" fmla="*/ 194312 h 6858000"/>
              <a:gd name="connsiteX48" fmla="*/ 130672 w 11046723"/>
              <a:gd name="connsiteY48" fmla="*/ 671514 h 6858000"/>
              <a:gd name="connsiteX49" fmla="*/ 0 w 11046723"/>
              <a:gd name="connsiteY49" fmla="*/ 747683 h 6858000"/>
              <a:gd name="connsiteX50" fmla="*/ 0 w 11046723"/>
              <a:gd name="connsiteY50" fmla="*/ 747682 h 6858000"/>
              <a:gd name="connsiteX51" fmla="*/ 130672 w 11046723"/>
              <a:gd name="connsiteY51" fmla="*/ 671513 h 6858000"/>
              <a:gd name="connsiteX52" fmla="*/ 1036321 w 11046723"/>
              <a:gd name="connsiteY52" fmla="*/ 194310 h 6858000"/>
              <a:gd name="connsiteX53" fmla="*/ 1318737 w 11046723"/>
              <a:gd name="connsiteY53" fmla="*/ 70644 h 6858000"/>
              <a:gd name="connsiteX54" fmla="*/ 1493836 w 11046723"/>
              <a:gd name="connsiteY54" fmla="*/ 0 h 6858000"/>
              <a:gd name="connsiteX0" fmla="*/ 10157163 w 11046723"/>
              <a:gd name="connsiteY0" fmla="*/ 678888 h 6858000"/>
              <a:gd name="connsiteX1" fmla="*/ 10099498 w 11046723"/>
              <a:gd name="connsiteY1" fmla="*/ 638556 h 6858000"/>
              <a:gd name="connsiteX2" fmla="*/ 10157163 w 11046723"/>
              <a:gd name="connsiteY2" fmla="*/ 678888 h 6858000"/>
              <a:gd name="connsiteX3" fmla="*/ 5416523 w 11046723"/>
              <a:gd name="connsiteY3" fmla="*/ 392344 h 6858000"/>
              <a:gd name="connsiteX4" fmla="*/ 7023101 w 11046723"/>
              <a:gd name="connsiteY4" fmla="*/ 661672 h 6858000"/>
              <a:gd name="connsiteX5" fmla="*/ 9331960 w 11046723"/>
              <a:gd name="connsiteY5" fmla="*/ 2457451 h 6858000"/>
              <a:gd name="connsiteX6" fmla="*/ 10982484 w 11046723"/>
              <a:gd name="connsiteY6" fmla="*/ 4320382 h 6858000"/>
              <a:gd name="connsiteX7" fmla="*/ 11046723 w 11046723"/>
              <a:gd name="connsiteY7" fmla="*/ 4399855 h 6858000"/>
              <a:gd name="connsiteX8" fmla="*/ 10950686 w 11046723"/>
              <a:gd name="connsiteY8" fmla="*/ 4415959 h 6858000"/>
              <a:gd name="connsiteX9" fmla="*/ 9269729 w 11046723"/>
              <a:gd name="connsiteY9" fmla="*/ 5092699 h 6858000"/>
              <a:gd name="connsiteX10" fmla="*/ 8111807 w 11046723"/>
              <a:gd name="connsiteY10" fmla="*/ 6820535 h 6858000"/>
              <a:gd name="connsiteX11" fmla="*/ 8096827 w 11046723"/>
              <a:gd name="connsiteY11" fmla="*/ 6858000 h 6858000"/>
              <a:gd name="connsiteX12" fmla="*/ 0 w 11046723"/>
              <a:gd name="connsiteY12" fmla="*/ 6858000 h 6858000"/>
              <a:gd name="connsiteX13" fmla="*/ 0 w 11046723"/>
              <a:gd name="connsiteY13" fmla="*/ 1312476 h 6858000"/>
              <a:gd name="connsiteX14" fmla="*/ 393384 w 11046723"/>
              <a:gd name="connsiteY14" fmla="*/ 1170010 h 6858000"/>
              <a:gd name="connsiteX15" fmla="*/ 1790701 w 11046723"/>
              <a:gd name="connsiteY15" fmla="*/ 836932 h 6858000"/>
              <a:gd name="connsiteX16" fmla="*/ 5416523 w 11046723"/>
              <a:gd name="connsiteY16" fmla="*/ 392344 h 6858000"/>
              <a:gd name="connsiteX17" fmla="*/ 7788060 w 11046723"/>
              <a:gd name="connsiteY17" fmla="*/ 373174 h 6858000"/>
              <a:gd name="connsiteX18" fmla="*/ 7951989 w 11046723"/>
              <a:gd name="connsiteY18" fmla="*/ 496695 h 6858000"/>
              <a:gd name="connsiteX19" fmla="*/ 8131809 w 11046723"/>
              <a:gd name="connsiteY19" fmla="*/ 618490 h 6858000"/>
              <a:gd name="connsiteX20" fmla="*/ 10486389 w 11046723"/>
              <a:gd name="connsiteY20" fmla="*/ 1795780 h 6858000"/>
              <a:gd name="connsiteX21" fmla="*/ 8131810 w 11046723"/>
              <a:gd name="connsiteY21" fmla="*/ 619761 h 6858000"/>
              <a:gd name="connsiteX22" fmla="*/ 7927023 w 11046723"/>
              <a:gd name="connsiteY22" fmla="*/ 479920 h 6858000"/>
              <a:gd name="connsiteX23" fmla="*/ 7788060 w 11046723"/>
              <a:gd name="connsiteY23" fmla="*/ 373174 h 6858000"/>
              <a:gd name="connsiteX24" fmla="*/ 7778945 w 11046723"/>
              <a:gd name="connsiteY24" fmla="*/ 366172 h 6858000"/>
              <a:gd name="connsiteX25" fmla="*/ 7788060 w 11046723"/>
              <a:gd name="connsiteY25" fmla="*/ 373174 h 6858000"/>
              <a:gd name="connsiteX26" fmla="*/ 7780464 w 11046723"/>
              <a:gd name="connsiteY26" fmla="*/ 367450 h 6858000"/>
              <a:gd name="connsiteX27" fmla="*/ 7778945 w 11046723"/>
              <a:gd name="connsiteY27" fmla="*/ 366172 h 6858000"/>
              <a:gd name="connsiteX28" fmla="*/ 7544713 w 11046723"/>
              <a:gd name="connsiteY28" fmla="*/ 169063 h 6858000"/>
              <a:gd name="connsiteX29" fmla="*/ 7778945 w 11046723"/>
              <a:gd name="connsiteY29" fmla="*/ 366172 h 6858000"/>
              <a:gd name="connsiteX30" fmla="*/ 7732713 w 11046723"/>
              <a:gd name="connsiteY30" fmla="*/ 330658 h 6858000"/>
              <a:gd name="connsiteX31" fmla="*/ 7544713 w 11046723"/>
              <a:gd name="connsiteY31" fmla="*/ 169063 h 6858000"/>
              <a:gd name="connsiteX32" fmla="*/ 7414333 w 11046723"/>
              <a:gd name="connsiteY32" fmla="*/ 56995 h 6858000"/>
              <a:gd name="connsiteX33" fmla="*/ 7544713 w 11046723"/>
              <a:gd name="connsiteY33" fmla="*/ 169063 h 6858000"/>
              <a:gd name="connsiteX34" fmla="*/ 7454642 w 11046723"/>
              <a:gd name="connsiteY34" fmla="*/ 93267 h 6858000"/>
              <a:gd name="connsiteX35" fmla="*/ 7414333 w 11046723"/>
              <a:gd name="connsiteY35" fmla="*/ 56995 h 6858000"/>
              <a:gd name="connsiteX36" fmla="*/ 7348739 w 11046723"/>
              <a:gd name="connsiteY36" fmla="*/ 0 h 6858000"/>
              <a:gd name="connsiteX37" fmla="*/ 7350996 w 11046723"/>
              <a:gd name="connsiteY37" fmla="*/ 0 h 6858000"/>
              <a:gd name="connsiteX38" fmla="*/ 7414333 w 11046723"/>
              <a:gd name="connsiteY38" fmla="*/ 56995 h 6858000"/>
              <a:gd name="connsiteX39" fmla="*/ 7364096 w 11046723"/>
              <a:gd name="connsiteY39" fmla="*/ 13813 h 6858000"/>
              <a:gd name="connsiteX40" fmla="*/ 7348739 w 11046723"/>
              <a:gd name="connsiteY40" fmla="*/ 0 h 6858000"/>
              <a:gd name="connsiteX41" fmla="*/ 1493836 w 11046723"/>
              <a:gd name="connsiteY41" fmla="*/ 0 h 6858000"/>
              <a:gd name="connsiteX42" fmla="*/ 1493841 w 11046723"/>
              <a:gd name="connsiteY42" fmla="*/ 0 h 6858000"/>
              <a:gd name="connsiteX43" fmla="*/ 1318737 w 11046723"/>
              <a:gd name="connsiteY43" fmla="*/ 70646 h 6858000"/>
              <a:gd name="connsiteX44" fmla="*/ 1036321 w 11046723"/>
              <a:gd name="connsiteY44" fmla="*/ 194312 h 6858000"/>
              <a:gd name="connsiteX45" fmla="*/ 130672 w 11046723"/>
              <a:gd name="connsiteY45" fmla="*/ 671514 h 6858000"/>
              <a:gd name="connsiteX46" fmla="*/ 0 w 11046723"/>
              <a:gd name="connsiteY46" fmla="*/ 747683 h 6858000"/>
              <a:gd name="connsiteX47" fmla="*/ 0 w 11046723"/>
              <a:gd name="connsiteY47" fmla="*/ 747682 h 6858000"/>
              <a:gd name="connsiteX48" fmla="*/ 130672 w 11046723"/>
              <a:gd name="connsiteY48" fmla="*/ 671513 h 6858000"/>
              <a:gd name="connsiteX49" fmla="*/ 1036321 w 11046723"/>
              <a:gd name="connsiteY49" fmla="*/ 194310 h 6858000"/>
              <a:gd name="connsiteX50" fmla="*/ 1318737 w 11046723"/>
              <a:gd name="connsiteY50" fmla="*/ 70644 h 6858000"/>
              <a:gd name="connsiteX51" fmla="*/ 1493836 w 11046723"/>
              <a:gd name="connsiteY51"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788060 w 11046723"/>
              <a:gd name="connsiteY14" fmla="*/ 373174 h 6858000"/>
              <a:gd name="connsiteX15" fmla="*/ 7951989 w 11046723"/>
              <a:gd name="connsiteY15" fmla="*/ 496695 h 6858000"/>
              <a:gd name="connsiteX16" fmla="*/ 8131809 w 11046723"/>
              <a:gd name="connsiteY16" fmla="*/ 618490 h 6858000"/>
              <a:gd name="connsiteX17" fmla="*/ 10486389 w 11046723"/>
              <a:gd name="connsiteY17" fmla="*/ 1795780 h 6858000"/>
              <a:gd name="connsiteX18" fmla="*/ 8131810 w 11046723"/>
              <a:gd name="connsiteY18" fmla="*/ 619761 h 6858000"/>
              <a:gd name="connsiteX19" fmla="*/ 7927023 w 11046723"/>
              <a:gd name="connsiteY19" fmla="*/ 479920 h 6858000"/>
              <a:gd name="connsiteX20" fmla="*/ 7788060 w 11046723"/>
              <a:gd name="connsiteY20" fmla="*/ 373174 h 6858000"/>
              <a:gd name="connsiteX21" fmla="*/ 7778945 w 11046723"/>
              <a:gd name="connsiteY21" fmla="*/ 366172 h 6858000"/>
              <a:gd name="connsiteX22" fmla="*/ 7788060 w 11046723"/>
              <a:gd name="connsiteY22" fmla="*/ 373174 h 6858000"/>
              <a:gd name="connsiteX23" fmla="*/ 7780464 w 11046723"/>
              <a:gd name="connsiteY23" fmla="*/ 367450 h 6858000"/>
              <a:gd name="connsiteX24" fmla="*/ 7778945 w 11046723"/>
              <a:gd name="connsiteY24" fmla="*/ 366172 h 6858000"/>
              <a:gd name="connsiteX25" fmla="*/ 7544713 w 11046723"/>
              <a:gd name="connsiteY25" fmla="*/ 169063 h 6858000"/>
              <a:gd name="connsiteX26" fmla="*/ 7778945 w 11046723"/>
              <a:gd name="connsiteY26" fmla="*/ 366172 h 6858000"/>
              <a:gd name="connsiteX27" fmla="*/ 7732713 w 11046723"/>
              <a:gd name="connsiteY27" fmla="*/ 330658 h 6858000"/>
              <a:gd name="connsiteX28" fmla="*/ 7544713 w 11046723"/>
              <a:gd name="connsiteY28" fmla="*/ 169063 h 6858000"/>
              <a:gd name="connsiteX29" fmla="*/ 7414333 w 11046723"/>
              <a:gd name="connsiteY29" fmla="*/ 56995 h 6858000"/>
              <a:gd name="connsiteX30" fmla="*/ 7544713 w 11046723"/>
              <a:gd name="connsiteY30" fmla="*/ 169063 h 6858000"/>
              <a:gd name="connsiteX31" fmla="*/ 7454642 w 11046723"/>
              <a:gd name="connsiteY31" fmla="*/ 93267 h 6858000"/>
              <a:gd name="connsiteX32" fmla="*/ 7414333 w 11046723"/>
              <a:gd name="connsiteY32" fmla="*/ 56995 h 6858000"/>
              <a:gd name="connsiteX33" fmla="*/ 7348739 w 11046723"/>
              <a:gd name="connsiteY33" fmla="*/ 0 h 6858000"/>
              <a:gd name="connsiteX34" fmla="*/ 7350996 w 11046723"/>
              <a:gd name="connsiteY34" fmla="*/ 0 h 6858000"/>
              <a:gd name="connsiteX35" fmla="*/ 7414333 w 11046723"/>
              <a:gd name="connsiteY35" fmla="*/ 56995 h 6858000"/>
              <a:gd name="connsiteX36" fmla="*/ 7364096 w 11046723"/>
              <a:gd name="connsiteY36" fmla="*/ 13813 h 6858000"/>
              <a:gd name="connsiteX37" fmla="*/ 7348739 w 11046723"/>
              <a:gd name="connsiteY37" fmla="*/ 0 h 6858000"/>
              <a:gd name="connsiteX38" fmla="*/ 1493836 w 11046723"/>
              <a:gd name="connsiteY38" fmla="*/ 0 h 6858000"/>
              <a:gd name="connsiteX39" fmla="*/ 1493841 w 11046723"/>
              <a:gd name="connsiteY39" fmla="*/ 0 h 6858000"/>
              <a:gd name="connsiteX40" fmla="*/ 1318737 w 11046723"/>
              <a:gd name="connsiteY40" fmla="*/ 70646 h 6858000"/>
              <a:gd name="connsiteX41" fmla="*/ 1036321 w 11046723"/>
              <a:gd name="connsiteY41" fmla="*/ 194312 h 6858000"/>
              <a:gd name="connsiteX42" fmla="*/ 130672 w 11046723"/>
              <a:gd name="connsiteY42" fmla="*/ 671514 h 6858000"/>
              <a:gd name="connsiteX43" fmla="*/ 0 w 11046723"/>
              <a:gd name="connsiteY43" fmla="*/ 747683 h 6858000"/>
              <a:gd name="connsiteX44" fmla="*/ 0 w 11046723"/>
              <a:gd name="connsiteY44" fmla="*/ 747682 h 6858000"/>
              <a:gd name="connsiteX45" fmla="*/ 130672 w 11046723"/>
              <a:gd name="connsiteY45" fmla="*/ 671513 h 6858000"/>
              <a:gd name="connsiteX46" fmla="*/ 1036321 w 11046723"/>
              <a:gd name="connsiteY46" fmla="*/ 194310 h 6858000"/>
              <a:gd name="connsiteX47" fmla="*/ 1318737 w 11046723"/>
              <a:gd name="connsiteY47" fmla="*/ 70644 h 6858000"/>
              <a:gd name="connsiteX48" fmla="*/ 1493836 w 11046723"/>
              <a:gd name="connsiteY48"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788060 w 11046723"/>
              <a:gd name="connsiteY14" fmla="*/ 373174 h 6858000"/>
              <a:gd name="connsiteX15" fmla="*/ 7951989 w 11046723"/>
              <a:gd name="connsiteY15" fmla="*/ 496695 h 6858000"/>
              <a:gd name="connsiteX16" fmla="*/ 8131809 w 11046723"/>
              <a:gd name="connsiteY16" fmla="*/ 618490 h 6858000"/>
              <a:gd name="connsiteX17" fmla="*/ 8131810 w 11046723"/>
              <a:gd name="connsiteY17" fmla="*/ 619761 h 6858000"/>
              <a:gd name="connsiteX18" fmla="*/ 7927023 w 11046723"/>
              <a:gd name="connsiteY18" fmla="*/ 479920 h 6858000"/>
              <a:gd name="connsiteX19" fmla="*/ 7788060 w 11046723"/>
              <a:gd name="connsiteY19" fmla="*/ 373174 h 6858000"/>
              <a:gd name="connsiteX20" fmla="*/ 7778945 w 11046723"/>
              <a:gd name="connsiteY20" fmla="*/ 366172 h 6858000"/>
              <a:gd name="connsiteX21" fmla="*/ 7788060 w 11046723"/>
              <a:gd name="connsiteY21" fmla="*/ 373174 h 6858000"/>
              <a:gd name="connsiteX22" fmla="*/ 7780464 w 11046723"/>
              <a:gd name="connsiteY22" fmla="*/ 367450 h 6858000"/>
              <a:gd name="connsiteX23" fmla="*/ 7778945 w 11046723"/>
              <a:gd name="connsiteY23" fmla="*/ 366172 h 6858000"/>
              <a:gd name="connsiteX24" fmla="*/ 7544713 w 11046723"/>
              <a:gd name="connsiteY24" fmla="*/ 169063 h 6858000"/>
              <a:gd name="connsiteX25" fmla="*/ 7778945 w 11046723"/>
              <a:gd name="connsiteY25" fmla="*/ 366172 h 6858000"/>
              <a:gd name="connsiteX26" fmla="*/ 7732713 w 11046723"/>
              <a:gd name="connsiteY26" fmla="*/ 330658 h 6858000"/>
              <a:gd name="connsiteX27" fmla="*/ 7544713 w 11046723"/>
              <a:gd name="connsiteY27" fmla="*/ 169063 h 6858000"/>
              <a:gd name="connsiteX28" fmla="*/ 7414333 w 11046723"/>
              <a:gd name="connsiteY28" fmla="*/ 56995 h 6858000"/>
              <a:gd name="connsiteX29" fmla="*/ 7544713 w 11046723"/>
              <a:gd name="connsiteY29" fmla="*/ 169063 h 6858000"/>
              <a:gd name="connsiteX30" fmla="*/ 7454642 w 11046723"/>
              <a:gd name="connsiteY30" fmla="*/ 93267 h 6858000"/>
              <a:gd name="connsiteX31" fmla="*/ 7414333 w 11046723"/>
              <a:gd name="connsiteY31" fmla="*/ 56995 h 6858000"/>
              <a:gd name="connsiteX32" fmla="*/ 7348739 w 11046723"/>
              <a:gd name="connsiteY32" fmla="*/ 0 h 6858000"/>
              <a:gd name="connsiteX33" fmla="*/ 7350996 w 11046723"/>
              <a:gd name="connsiteY33" fmla="*/ 0 h 6858000"/>
              <a:gd name="connsiteX34" fmla="*/ 7414333 w 11046723"/>
              <a:gd name="connsiteY34" fmla="*/ 56995 h 6858000"/>
              <a:gd name="connsiteX35" fmla="*/ 7364096 w 11046723"/>
              <a:gd name="connsiteY35" fmla="*/ 13813 h 6858000"/>
              <a:gd name="connsiteX36" fmla="*/ 7348739 w 11046723"/>
              <a:gd name="connsiteY36" fmla="*/ 0 h 6858000"/>
              <a:gd name="connsiteX37" fmla="*/ 1493836 w 11046723"/>
              <a:gd name="connsiteY37" fmla="*/ 0 h 6858000"/>
              <a:gd name="connsiteX38" fmla="*/ 1493841 w 11046723"/>
              <a:gd name="connsiteY38" fmla="*/ 0 h 6858000"/>
              <a:gd name="connsiteX39" fmla="*/ 1318737 w 11046723"/>
              <a:gd name="connsiteY39" fmla="*/ 70646 h 6858000"/>
              <a:gd name="connsiteX40" fmla="*/ 1036321 w 11046723"/>
              <a:gd name="connsiteY40" fmla="*/ 194312 h 6858000"/>
              <a:gd name="connsiteX41" fmla="*/ 130672 w 11046723"/>
              <a:gd name="connsiteY41" fmla="*/ 671514 h 6858000"/>
              <a:gd name="connsiteX42" fmla="*/ 0 w 11046723"/>
              <a:gd name="connsiteY42" fmla="*/ 747683 h 6858000"/>
              <a:gd name="connsiteX43" fmla="*/ 0 w 11046723"/>
              <a:gd name="connsiteY43" fmla="*/ 747682 h 6858000"/>
              <a:gd name="connsiteX44" fmla="*/ 130672 w 11046723"/>
              <a:gd name="connsiteY44" fmla="*/ 671513 h 6858000"/>
              <a:gd name="connsiteX45" fmla="*/ 1036321 w 11046723"/>
              <a:gd name="connsiteY45" fmla="*/ 194310 h 6858000"/>
              <a:gd name="connsiteX46" fmla="*/ 1318737 w 11046723"/>
              <a:gd name="connsiteY46" fmla="*/ 70644 h 6858000"/>
              <a:gd name="connsiteX47" fmla="*/ 1493836 w 11046723"/>
              <a:gd name="connsiteY47"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788060 w 11046723"/>
              <a:gd name="connsiteY14" fmla="*/ 373174 h 6858000"/>
              <a:gd name="connsiteX15" fmla="*/ 7951989 w 11046723"/>
              <a:gd name="connsiteY15" fmla="*/ 496695 h 6858000"/>
              <a:gd name="connsiteX16" fmla="*/ 8131809 w 11046723"/>
              <a:gd name="connsiteY16" fmla="*/ 618490 h 6858000"/>
              <a:gd name="connsiteX17" fmla="*/ 7927023 w 11046723"/>
              <a:gd name="connsiteY17" fmla="*/ 479920 h 6858000"/>
              <a:gd name="connsiteX18" fmla="*/ 7788060 w 11046723"/>
              <a:gd name="connsiteY18" fmla="*/ 373174 h 6858000"/>
              <a:gd name="connsiteX19" fmla="*/ 7778945 w 11046723"/>
              <a:gd name="connsiteY19" fmla="*/ 366172 h 6858000"/>
              <a:gd name="connsiteX20" fmla="*/ 7788060 w 11046723"/>
              <a:gd name="connsiteY20" fmla="*/ 373174 h 6858000"/>
              <a:gd name="connsiteX21" fmla="*/ 7780464 w 11046723"/>
              <a:gd name="connsiteY21" fmla="*/ 367450 h 6858000"/>
              <a:gd name="connsiteX22" fmla="*/ 7778945 w 11046723"/>
              <a:gd name="connsiteY22" fmla="*/ 366172 h 6858000"/>
              <a:gd name="connsiteX23" fmla="*/ 7544713 w 11046723"/>
              <a:gd name="connsiteY23" fmla="*/ 169063 h 6858000"/>
              <a:gd name="connsiteX24" fmla="*/ 7778945 w 11046723"/>
              <a:gd name="connsiteY24" fmla="*/ 366172 h 6858000"/>
              <a:gd name="connsiteX25" fmla="*/ 7732713 w 11046723"/>
              <a:gd name="connsiteY25" fmla="*/ 330658 h 6858000"/>
              <a:gd name="connsiteX26" fmla="*/ 7544713 w 11046723"/>
              <a:gd name="connsiteY26" fmla="*/ 169063 h 6858000"/>
              <a:gd name="connsiteX27" fmla="*/ 7414333 w 11046723"/>
              <a:gd name="connsiteY27" fmla="*/ 56995 h 6858000"/>
              <a:gd name="connsiteX28" fmla="*/ 7544713 w 11046723"/>
              <a:gd name="connsiteY28" fmla="*/ 169063 h 6858000"/>
              <a:gd name="connsiteX29" fmla="*/ 7454642 w 11046723"/>
              <a:gd name="connsiteY29" fmla="*/ 93267 h 6858000"/>
              <a:gd name="connsiteX30" fmla="*/ 7414333 w 11046723"/>
              <a:gd name="connsiteY30" fmla="*/ 56995 h 6858000"/>
              <a:gd name="connsiteX31" fmla="*/ 7348739 w 11046723"/>
              <a:gd name="connsiteY31" fmla="*/ 0 h 6858000"/>
              <a:gd name="connsiteX32" fmla="*/ 7350996 w 11046723"/>
              <a:gd name="connsiteY32" fmla="*/ 0 h 6858000"/>
              <a:gd name="connsiteX33" fmla="*/ 7414333 w 11046723"/>
              <a:gd name="connsiteY33" fmla="*/ 56995 h 6858000"/>
              <a:gd name="connsiteX34" fmla="*/ 7364096 w 11046723"/>
              <a:gd name="connsiteY34" fmla="*/ 13813 h 6858000"/>
              <a:gd name="connsiteX35" fmla="*/ 7348739 w 11046723"/>
              <a:gd name="connsiteY35" fmla="*/ 0 h 6858000"/>
              <a:gd name="connsiteX36" fmla="*/ 1493836 w 11046723"/>
              <a:gd name="connsiteY36" fmla="*/ 0 h 6858000"/>
              <a:gd name="connsiteX37" fmla="*/ 1493841 w 11046723"/>
              <a:gd name="connsiteY37" fmla="*/ 0 h 6858000"/>
              <a:gd name="connsiteX38" fmla="*/ 1318737 w 11046723"/>
              <a:gd name="connsiteY38" fmla="*/ 70646 h 6858000"/>
              <a:gd name="connsiteX39" fmla="*/ 1036321 w 11046723"/>
              <a:gd name="connsiteY39" fmla="*/ 194312 h 6858000"/>
              <a:gd name="connsiteX40" fmla="*/ 130672 w 11046723"/>
              <a:gd name="connsiteY40" fmla="*/ 671514 h 6858000"/>
              <a:gd name="connsiteX41" fmla="*/ 0 w 11046723"/>
              <a:gd name="connsiteY41" fmla="*/ 747683 h 6858000"/>
              <a:gd name="connsiteX42" fmla="*/ 0 w 11046723"/>
              <a:gd name="connsiteY42" fmla="*/ 747682 h 6858000"/>
              <a:gd name="connsiteX43" fmla="*/ 130672 w 11046723"/>
              <a:gd name="connsiteY43" fmla="*/ 671513 h 6858000"/>
              <a:gd name="connsiteX44" fmla="*/ 1036321 w 11046723"/>
              <a:gd name="connsiteY44" fmla="*/ 194310 h 6858000"/>
              <a:gd name="connsiteX45" fmla="*/ 1318737 w 11046723"/>
              <a:gd name="connsiteY45" fmla="*/ 70644 h 6858000"/>
              <a:gd name="connsiteX46" fmla="*/ 1493836 w 11046723"/>
              <a:gd name="connsiteY46"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788060 w 11046723"/>
              <a:gd name="connsiteY14" fmla="*/ 373174 h 6858000"/>
              <a:gd name="connsiteX15" fmla="*/ 7951989 w 11046723"/>
              <a:gd name="connsiteY15" fmla="*/ 496695 h 6858000"/>
              <a:gd name="connsiteX16" fmla="*/ 7927023 w 11046723"/>
              <a:gd name="connsiteY16" fmla="*/ 479920 h 6858000"/>
              <a:gd name="connsiteX17" fmla="*/ 7788060 w 11046723"/>
              <a:gd name="connsiteY17" fmla="*/ 373174 h 6858000"/>
              <a:gd name="connsiteX18" fmla="*/ 7778945 w 11046723"/>
              <a:gd name="connsiteY18" fmla="*/ 366172 h 6858000"/>
              <a:gd name="connsiteX19" fmla="*/ 7788060 w 11046723"/>
              <a:gd name="connsiteY19" fmla="*/ 373174 h 6858000"/>
              <a:gd name="connsiteX20" fmla="*/ 7780464 w 11046723"/>
              <a:gd name="connsiteY20" fmla="*/ 367450 h 6858000"/>
              <a:gd name="connsiteX21" fmla="*/ 7778945 w 11046723"/>
              <a:gd name="connsiteY21" fmla="*/ 366172 h 6858000"/>
              <a:gd name="connsiteX22" fmla="*/ 7544713 w 11046723"/>
              <a:gd name="connsiteY22" fmla="*/ 169063 h 6858000"/>
              <a:gd name="connsiteX23" fmla="*/ 7778945 w 11046723"/>
              <a:gd name="connsiteY23" fmla="*/ 366172 h 6858000"/>
              <a:gd name="connsiteX24" fmla="*/ 7732713 w 11046723"/>
              <a:gd name="connsiteY24" fmla="*/ 330658 h 6858000"/>
              <a:gd name="connsiteX25" fmla="*/ 7544713 w 11046723"/>
              <a:gd name="connsiteY25" fmla="*/ 169063 h 6858000"/>
              <a:gd name="connsiteX26" fmla="*/ 7414333 w 11046723"/>
              <a:gd name="connsiteY26" fmla="*/ 56995 h 6858000"/>
              <a:gd name="connsiteX27" fmla="*/ 7544713 w 11046723"/>
              <a:gd name="connsiteY27" fmla="*/ 169063 h 6858000"/>
              <a:gd name="connsiteX28" fmla="*/ 7454642 w 11046723"/>
              <a:gd name="connsiteY28" fmla="*/ 93267 h 6858000"/>
              <a:gd name="connsiteX29" fmla="*/ 7414333 w 11046723"/>
              <a:gd name="connsiteY29" fmla="*/ 56995 h 6858000"/>
              <a:gd name="connsiteX30" fmla="*/ 7348739 w 11046723"/>
              <a:gd name="connsiteY30" fmla="*/ 0 h 6858000"/>
              <a:gd name="connsiteX31" fmla="*/ 7350996 w 11046723"/>
              <a:gd name="connsiteY31" fmla="*/ 0 h 6858000"/>
              <a:gd name="connsiteX32" fmla="*/ 7414333 w 11046723"/>
              <a:gd name="connsiteY32" fmla="*/ 56995 h 6858000"/>
              <a:gd name="connsiteX33" fmla="*/ 7364096 w 11046723"/>
              <a:gd name="connsiteY33" fmla="*/ 13813 h 6858000"/>
              <a:gd name="connsiteX34" fmla="*/ 7348739 w 11046723"/>
              <a:gd name="connsiteY34" fmla="*/ 0 h 6858000"/>
              <a:gd name="connsiteX35" fmla="*/ 1493836 w 11046723"/>
              <a:gd name="connsiteY35" fmla="*/ 0 h 6858000"/>
              <a:gd name="connsiteX36" fmla="*/ 1493841 w 11046723"/>
              <a:gd name="connsiteY36" fmla="*/ 0 h 6858000"/>
              <a:gd name="connsiteX37" fmla="*/ 1318737 w 11046723"/>
              <a:gd name="connsiteY37" fmla="*/ 70646 h 6858000"/>
              <a:gd name="connsiteX38" fmla="*/ 1036321 w 11046723"/>
              <a:gd name="connsiteY38" fmla="*/ 194312 h 6858000"/>
              <a:gd name="connsiteX39" fmla="*/ 130672 w 11046723"/>
              <a:gd name="connsiteY39" fmla="*/ 671514 h 6858000"/>
              <a:gd name="connsiteX40" fmla="*/ 0 w 11046723"/>
              <a:gd name="connsiteY40" fmla="*/ 747683 h 6858000"/>
              <a:gd name="connsiteX41" fmla="*/ 0 w 11046723"/>
              <a:gd name="connsiteY41" fmla="*/ 747682 h 6858000"/>
              <a:gd name="connsiteX42" fmla="*/ 130672 w 11046723"/>
              <a:gd name="connsiteY42" fmla="*/ 671513 h 6858000"/>
              <a:gd name="connsiteX43" fmla="*/ 1036321 w 11046723"/>
              <a:gd name="connsiteY43" fmla="*/ 194310 h 6858000"/>
              <a:gd name="connsiteX44" fmla="*/ 1318737 w 11046723"/>
              <a:gd name="connsiteY44" fmla="*/ 70644 h 6858000"/>
              <a:gd name="connsiteX45" fmla="*/ 1493836 w 11046723"/>
              <a:gd name="connsiteY45"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788060 w 11046723"/>
              <a:gd name="connsiteY14" fmla="*/ 373174 h 6858000"/>
              <a:gd name="connsiteX15" fmla="*/ 7951989 w 11046723"/>
              <a:gd name="connsiteY15" fmla="*/ 496695 h 6858000"/>
              <a:gd name="connsiteX16" fmla="*/ 7788060 w 11046723"/>
              <a:gd name="connsiteY16" fmla="*/ 373174 h 6858000"/>
              <a:gd name="connsiteX17" fmla="*/ 7778945 w 11046723"/>
              <a:gd name="connsiteY17" fmla="*/ 366172 h 6858000"/>
              <a:gd name="connsiteX18" fmla="*/ 7788060 w 11046723"/>
              <a:gd name="connsiteY18" fmla="*/ 373174 h 6858000"/>
              <a:gd name="connsiteX19" fmla="*/ 7780464 w 11046723"/>
              <a:gd name="connsiteY19" fmla="*/ 367450 h 6858000"/>
              <a:gd name="connsiteX20" fmla="*/ 7778945 w 11046723"/>
              <a:gd name="connsiteY20" fmla="*/ 366172 h 6858000"/>
              <a:gd name="connsiteX21" fmla="*/ 7544713 w 11046723"/>
              <a:gd name="connsiteY21" fmla="*/ 169063 h 6858000"/>
              <a:gd name="connsiteX22" fmla="*/ 7778945 w 11046723"/>
              <a:gd name="connsiteY22" fmla="*/ 366172 h 6858000"/>
              <a:gd name="connsiteX23" fmla="*/ 7732713 w 11046723"/>
              <a:gd name="connsiteY23" fmla="*/ 330658 h 6858000"/>
              <a:gd name="connsiteX24" fmla="*/ 7544713 w 11046723"/>
              <a:gd name="connsiteY24" fmla="*/ 169063 h 6858000"/>
              <a:gd name="connsiteX25" fmla="*/ 7414333 w 11046723"/>
              <a:gd name="connsiteY25" fmla="*/ 56995 h 6858000"/>
              <a:gd name="connsiteX26" fmla="*/ 7544713 w 11046723"/>
              <a:gd name="connsiteY26" fmla="*/ 169063 h 6858000"/>
              <a:gd name="connsiteX27" fmla="*/ 7454642 w 11046723"/>
              <a:gd name="connsiteY27" fmla="*/ 93267 h 6858000"/>
              <a:gd name="connsiteX28" fmla="*/ 7414333 w 11046723"/>
              <a:gd name="connsiteY28" fmla="*/ 56995 h 6858000"/>
              <a:gd name="connsiteX29" fmla="*/ 7348739 w 11046723"/>
              <a:gd name="connsiteY29" fmla="*/ 0 h 6858000"/>
              <a:gd name="connsiteX30" fmla="*/ 7350996 w 11046723"/>
              <a:gd name="connsiteY30" fmla="*/ 0 h 6858000"/>
              <a:gd name="connsiteX31" fmla="*/ 7414333 w 11046723"/>
              <a:gd name="connsiteY31" fmla="*/ 56995 h 6858000"/>
              <a:gd name="connsiteX32" fmla="*/ 7364096 w 11046723"/>
              <a:gd name="connsiteY32" fmla="*/ 13813 h 6858000"/>
              <a:gd name="connsiteX33" fmla="*/ 7348739 w 11046723"/>
              <a:gd name="connsiteY33" fmla="*/ 0 h 6858000"/>
              <a:gd name="connsiteX34" fmla="*/ 1493836 w 11046723"/>
              <a:gd name="connsiteY34" fmla="*/ 0 h 6858000"/>
              <a:gd name="connsiteX35" fmla="*/ 1493841 w 11046723"/>
              <a:gd name="connsiteY35" fmla="*/ 0 h 6858000"/>
              <a:gd name="connsiteX36" fmla="*/ 1318737 w 11046723"/>
              <a:gd name="connsiteY36" fmla="*/ 70646 h 6858000"/>
              <a:gd name="connsiteX37" fmla="*/ 1036321 w 11046723"/>
              <a:gd name="connsiteY37" fmla="*/ 194312 h 6858000"/>
              <a:gd name="connsiteX38" fmla="*/ 130672 w 11046723"/>
              <a:gd name="connsiteY38" fmla="*/ 671514 h 6858000"/>
              <a:gd name="connsiteX39" fmla="*/ 0 w 11046723"/>
              <a:gd name="connsiteY39" fmla="*/ 747683 h 6858000"/>
              <a:gd name="connsiteX40" fmla="*/ 0 w 11046723"/>
              <a:gd name="connsiteY40" fmla="*/ 747682 h 6858000"/>
              <a:gd name="connsiteX41" fmla="*/ 130672 w 11046723"/>
              <a:gd name="connsiteY41" fmla="*/ 671513 h 6858000"/>
              <a:gd name="connsiteX42" fmla="*/ 1036321 w 11046723"/>
              <a:gd name="connsiteY42" fmla="*/ 194310 h 6858000"/>
              <a:gd name="connsiteX43" fmla="*/ 1318737 w 11046723"/>
              <a:gd name="connsiteY43" fmla="*/ 70644 h 6858000"/>
              <a:gd name="connsiteX44" fmla="*/ 1493836 w 11046723"/>
              <a:gd name="connsiteY44"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778945 w 11046723"/>
              <a:gd name="connsiteY14" fmla="*/ 366172 h 6858000"/>
              <a:gd name="connsiteX15" fmla="*/ 7788060 w 11046723"/>
              <a:gd name="connsiteY15" fmla="*/ 373174 h 6858000"/>
              <a:gd name="connsiteX16" fmla="*/ 7780464 w 11046723"/>
              <a:gd name="connsiteY16" fmla="*/ 367450 h 6858000"/>
              <a:gd name="connsiteX17" fmla="*/ 7778945 w 11046723"/>
              <a:gd name="connsiteY17" fmla="*/ 366172 h 6858000"/>
              <a:gd name="connsiteX18" fmla="*/ 7544713 w 11046723"/>
              <a:gd name="connsiteY18" fmla="*/ 169063 h 6858000"/>
              <a:gd name="connsiteX19" fmla="*/ 7778945 w 11046723"/>
              <a:gd name="connsiteY19" fmla="*/ 366172 h 6858000"/>
              <a:gd name="connsiteX20" fmla="*/ 7732713 w 11046723"/>
              <a:gd name="connsiteY20" fmla="*/ 330658 h 6858000"/>
              <a:gd name="connsiteX21" fmla="*/ 7544713 w 11046723"/>
              <a:gd name="connsiteY21" fmla="*/ 169063 h 6858000"/>
              <a:gd name="connsiteX22" fmla="*/ 7414333 w 11046723"/>
              <a:gd name="connsiteY22" fmla="*/ 56995 h 6858000"/>
              <a:gd name="connsiteX23" fmla="*/ 7544713 w 11046723"/>
              <a:gd name="connsiteY23" fmla="*/ 169063 h 6858000"/>
              <a:gd name="connsiteX24" fmla="*/ 7454642 w 11046723"/>
              <a:gd name="connsiteY24" fmla="*/ 93267 h 6858000"/>
              <a:gd name="connsiteX25" fmla="*/ 7414333 w 11046723"/>
              <a:gd name="connsiteY25" fmla="*/ 56995 h 6858000"/>
              <a:gd name="connsiteX26" fmla="*/ 7348739 w 11046723"/>
              <a:gd name="connsiteY26" fmla="*/ 0 h 6858000"/>
              <a:gd name="connsiteX27" fmla="*/ 7350996 w 11046723"/>
              <a:gd name="connsiteY27" fmla="*/ 0 h 6858000"/>
              <a:gd name="connsiteX28" fmla="*/ 7414333 w 11046723"/>
              <a:gd name="connsiteY28" fmla="*/ 56995 h 6858000"/>
              <a:gd name="connsiteX29" fmla="*/ 7364096 w 11046723"/>
              <a:gd name="connsiteY29" fmla="*/ 13813 h 6858000"/>
              <a:gd name="connsiteX30" fmla="*/ 7348739 w 11046723"/>
              <a:gd name="connsiteY30" fmla="*/ 0 h 6858000"/>
              <a:gd name="connsiteX31" fmla="*/ 1493836 w 11046723"/>
              <a:gd name="connsiteY31" fmla="*/ 0 h 6858000"/>
              <a:gd name="connsiteX32" fmla="*/ 1493841 w 11046723"/>
              <a:gd name="connsiteY32" fmla="*/ 0 h 6858000"/>
              <a:gd name="connsiteX33" fmla="*/ 1318737 w 11046723"/>
              <a:gd name="connsiteY33" fmla="*/ 70646 h 6858000"/>
              <a:gd name="connsiteX34" fmla="*/ 1036321 w 11046723"/>
              <a:gd name="connsiteY34" fmla="*/ 194312 h 6858000"/>
              <a:gd name="connsiteX35" fmla="*/ 130672 w 11046723"/>
              <a:gd name="connsiteY35" fmla="*/ 671514 h 6858000"/>
              <a:gd name="connsiteX36" fmla="*/ 0 w 11046723"/>
              <a:gd name="connsiteY36" fmla="*/ 747683 h 6858000"/>
              <a:gd name="connsiteX37" fmla="*/ 0 w 11046723"/>
              <a:gd name="connsiteY37" fmla="*/ 747682 h 6858000"/>
              <a:gd name="connsiteX38" fmla="*/ 130672 w 11046723"/>
              <a:gd name="connsiteY38" fmla="*/ 671513 h 6858000"/>
              <a:gd name="connsiteX39" fmla="*/ 1036321 w 11046723"/>
              <a:gd name="connsiteY39" fmla="*/ 194310 h 6858000"/>
              <a:gd name="connsiteX40" fmla="*/ 1318737 w 11046723"/>
              <a:gd name="connsiteY40" fmla="*/ 70644 h 6858000"/>
              <a:gd name="connsiteX41" fmla="*/ 1493836 w 11046723"/>
              <a:gd name="connsiteY41"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778945 w 11046723"/>
              <a:gd name="connsiteY14" fmla="*/ 366172 h 6858000"/>
              <a:gd name="connsiteX15" fmla="*/ 7788060 w 11046723"/>
              <a:gd name="connsiteY15" fmla="*/ 373174 h 6858000"/>
              <a:gd name="connsiteX16" fmla="*/ 7780464 w 11046723"/>
              <a:gd name="connsiteY16" fmla="*/ 367450 h 6858000"/>
              <a:gd name="connsiteX17" fmla="*/ 7778945 w 11046723"/>
              <a:gd name="connsiteY17" fmla="*/ 366172 h 6858000"/>
              <a:gd name="connsiteX18" fmla="*/ 7544713 w 11046723"/>
              <a:gd name="connsiteY18" fmla="*/ 169063 h 6858000"/>
              <a:gd name="connsiteX19" fmla="*/ 7778945 w 11046723"/>
              <a:gd name="connsiteY19" fmla="*/ 366172 h 6858000"/>
              <a:gd name="connsiteX20" fmla="*/ 7544713 w 11046723"/>
              <a:gd name="connsiteY20" fmla="*/ 169063 h 6858000"/>
              <a:gd name="connsiteX21" fmla="*/ 7414333 w 11046723"/>
              <a:gd name="connsiteY21" fmla="*/ 56995 h 6858000"/>
              <a:gd name="connsiteX22" fmla="*/ 7544713 w 11046723"/>
              <a:gd name="connsiteY22" fmla="*/ 169063 h 6858000"/>
              <a:gd name="connsiteX23" fmla="*/ 7454642 w 11046723"/>
              <a:gd name="connsiteY23" fmla="*/ 93267 h 6858000"/>
              <a:gd name="connsiteX24" fmla="*/ 7414333 w 11046723"/>
              <a:gd name="connsiteY24" fmla="*/ 56995 h 6858000"/>
              <a:gd name="connsiteX25" fmla="*/ 7348739 w 11046723"/>
              <a:gd name="connsiteY25" fmla="*/ 0 h 6858000"/>
              <a:gd name="connsiteX26" fmla="*/ 7350996 w 11046723"/>
              <a:gd name="connsiteY26" fmla="*/ 0 h 6858000"/>
              <a:gd name="connsiteX27" fmla="*/ 7414333 w 11046723"/>
              <a:gd name="connsiteY27" fmla="*/ 56995 h 6858000"/>
              <a:gd name="connsiteX28" fmla="*/ 7364096 w 11046723"/>
              <a:gd name="connsiteY28" fmla="*/ 13813 h 6858000"/>
              <a:gd name="connsiteX29" fmla="*/ 7348739 w 11046723"/>
              <a:gd name="connsiteY29" fmla="*/ 0 h 6858000"/>
              <a:gd name="connsiteX30" fmla="*/ 1493836 w 11046723"/>
              <a:gd name="connsiteY30" fmla="*/ 0 h 6858000"/>
              <a:gd name="connsiteX31" fmla="*/ 1493841 w 11046723"/>
              <a:gd name="connsiteY31" fmla="*/ 0 h 6858000"/>
              <a:gd name="connsiteX32" fmla="*/ 1318737 w 11046723"/>
              <a:gd name="connsiteY32" fmla="*/ 70646 h 6858000"/>
              <a:gd name="connsiteX33" fmla="*/ 1036321 w 11046723"/>
              <a:gd name="connsiteY33" fmla="*/ 194312 h 6858000"/>
              <a:gd name="connsiteX34" fmla="*/ 130672 w 11046723"/>
              <a:gd name="connsiteY34" fmla="*/ 671514 h 6858000"/>
              <a:gd name="connsiteX35" fmla="*/ 0 w 11046723"/>
              <a:gd name="connsiteY35" fmla="*/ 747683 h 6858000"/>
              <a:gd name="connsiteX36" fmla="*/ 0 w 11046723"/>
              <a:gd name="connsiteY36" fmla="*/ 747682 h 6858000"/>
              <a:gd name="connsiteX37" fmla="*/ 130672 w 11046723"/>
              <a:gd name="connsiteY37" fmla="*/ 671513 h 6858000"/>
              <a:gd name="connsiteX38" fmla="*/ 1036321 w 11046723"/>
              <a:gd name="connsiteY38" fmla="*/ 194310 h 6858000"/>
              <a:gd name="connsiteX39" fmla="*/ 1318737 w 11046723"/>
              <a:gd name="connsiteY39" fmla="*/ 70644 h 6858000"/>
              <a:gd name="connsiteX40" fmla="*/ 1493836 w 11046723"/>
              <a:gd name="connsiteY40"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778945 w 11046723"/>
              <a:gd name="connsiteY14" fmla="*/ 366172 h 6858000"/>
              <a:gd name="connsiteX15" fmla="*/ 7788060 w 11046723"/>
              <a:gd name="connsiteY15" fmla="*/ 373174 h 6858000"/>
              <a:gd name="connsiteX16" fmla="*/ 7780464 w 11046723"/>
              <a:gd name="connsiteY16" fmla="*/ 367450 h 6858000"/>
              <a:gd name="connsiteX17" fmla="*/ 7778945 w 11046723"/>
              <a:gd name="connsiteY17" fmla="*/ 366172 h 6858000"/>
              <a:gd name="connsiteX18" fmla="*/ 7414333 w 11046723"/>
              <a:gd name="connsiteY18" fmla="*/ 56995 h 6858000"/>
              <a:gd name="connsiteX19" fmla="*/ 7544713 w 11046723"/>
              <a:gd name="connsiteY19" fmla="*/ 169063 h 6858000"/>
              <a:gd name="connsiteX20" fmla="*/ 7454642 w 11046723"/>
              <a:gd name="connsiteY20" fmla="*/ 93267 h 6858000"/>
              <a:gd name="connsiteX21" fmla="*/ 7414333 w 11046723"/>
              <a:gd name="connsiteY21" fmla="*/ 56995 h 6858000"/>
              <a:gd name="connsiteX22" fmla="*/ 7348739 w 11046723"/>
              <a:gd name="connsiteY22" fmla="*/ 0 h 6858000"/>
              <a:gd name="connsiteX23" fmla="*/ 7350996 w 11046723"/>
              <a:gd name="connsiteY23" fmla="*/ 0 h 6858000"/>
              <a:gd name="connsiteX24" fmla="*/ 7414333 w 11046723"/>
              <a:gd name="connsiteY24" fmla="*/ 56995 h 6858000"/>
              <a:gd name="connsiteX25" fmla="*/ 7364096 w 11046723"/>
              <a:gd name="connsiteY25" fmla="*/ 13813 h 6858000"/>
              <a:gd name="connsiteX26" fmla="*/ 7348739 w 11046723"/>
              <a:gd name="connsiteY26" fmla="*/ 0 h 6858000"/>
              <a:gd name="connsiteX27" fmla="*/ 1493836 w 11046723"/>
              <a:gd name="connsiteY27" fmla="*/ 0 h 6858000"/>
              <a:gd name="connsiteX28" fmla="*/ 1493841 w 11046723"/>
              <a:gd name="connsiteY28" fmla="*/ 0 h 6858000"/>
              <a:gd name="connsiteX29" fmla="*/ 1318737 w 11046723"/>
              <a:gd name="connsiteY29" fmla="*/ 70646 h 6858000"/>
              <a:gd name="connsiteX30" fmla="*/ 1036321 w 11046723"/>
              <a:gd name="connsiteY30" fmla="*/ 194312 h 6858000"/>
              <a:gd name="connsiteX31" fmla="*/ 130672 w 11046723"/>
              <a:gd name="connsiteY31" fmla="*/ 671514 h 6858000"/>
              <a:gd name="connsiteX32" fmla="*/ 0 w 11046723"/>
              <a:gd name="connsiteY32" fmla="*/ 747683 h 6858000"/>
              <a:gd name="connsiteX33" fmla="*/ 0 w 11046723"/>
              <a:gd name="connsiteY33" fmla="*/ 747682 h 6858000"/>
              <a:gd name="connsiteX34" fmla="*/ 130672 w 11046723"/>
              <a:gd name="connsiteY34" fmla="*/ 671513 h 6858000"/>
              <a:gd name="connsiteX35" fmla="*/ 1036321 w 11046723"/>
              <a:gd name="connsiteY35" fmla="*/ 194310 h 6858000"/>
              <a:gd name="connsiteX36" fmla="*/ 1318737 w 11046723"/>
              <a:gd name="connsiteY36" fmla="*/ 70644 h 6858000"/>
              <a:gd name="connsiteX37" fmla="*/ 1493836 w 11046723"/>
              <a:gd name="connsiteY37"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780464 w 11046723"/>
              <a:gd name="connsiteY14" fmla="*/ 367450 h 6858000"/>
              <a:gd name="connsiteX15" fmla="*/ 7788060 w 11046723"/>
              <a:gd name="connsiteY15" fmla="*/ 373174 h 6858000"/>
              <a:gd name="connsiteX16" fmla="*/ 7780464 w 11046723"/>
              <a:gd name="connsiteY16" fmla="*/ 367450 h 6858000"/>
              <a:gd name="connsiteX17" fmla="*/ 7414333 w 11046723"/>
              <a:gd name="connsiteY17" fmla="*/ 56995 h 6858000"/>
              <a:gd name="connsiteX18" fmla="*/ 7544713 w 11046723"/>
              <a:gd name="connsiteY18" fmla="*/ 169063 h 6858000"/>
              <a:gd name="connsiteX19" fmla="*/ 7454642 w 11046723"/>
              <a:gd name="connsiteY19" fmla="*/ 93267 h 6858000"/>
              <a:gd name="connsiteX20" fmla="*/ 7414333 w 11046723"/>
              <a:gd name="connsiteY20" fmla="*/ 56995 h 6858000"/>
              <a:gd name="connsiteX21" fmla="*/ 7348739 w 11046723"/>
              <a:gd name="connsiteY21" fmla="*/ 0 h 6858000"/>
              <a:gd name="connsiteX22" fmla="*/ 7350996 w 11046723"/>
              <a:gd name="connsiteY22" fmla="*/ 0 h 6858000"/>
              <a:gd name="connsiteX23" fmla="*/ 7414333 w 11046723"/>
              <a:gd name="connsiteY23" fmla="*/ 56995 h 6858000"/>
              <a:gd name="connsiteX24" fmla="*/ 7364096 w 11046723"/>
              <a:gd name="connsiteY24" fmla="*/ 13813 h 6858000"/>
              <a:gd name="connsiteX25" fmla="*/ 7348739 w 11046723"/>
              <a:gd name="connsiteY25" fmla="*/ 0 h 6858000"/>
              <a:gd name="connsiteX26" fmla="*/ 1493836 w 11046723"/>
              <a:gd name="connsiteY26" fmla="*/ 0 h 6858000"/>
              <a:gd name="connsiteX27" fmla="*/ 1493841 w 11046723"/>
              <a:gd name="connsiteY27" fmla="*/ 0 h 6858000"/>
              <a:gd name="connsiteX28" fmla="*/ 1318737 w 11046723"/>
              <a:gd name="connsiteY28" fmla="*/ 70646 h 6858000"/>
              <a:gd name="connsiteX29" fmla="*/ 1036321 w 11046723"/>
              <a:gd name="connsiteY29" fmla="*/ 194312 h 6858000"/>
              <a:gd name="connsiteX30" fmla="*/ 130672 w 11046723"/>
              <a:gd name="connsiteY30" fmla="*/ 671514 h 6858000"/>
              <a:gd name="connsiteX31" fmla="*/ 0 w 11046723"/>
              <a:gd name="connsiteY31" fmla="*/ 747683 h 6858000"/>
              <a:gd name="connsiteX32" fmla="*/ 0 w 11046723"/>
              <a:gd name="connsiteY32" fmla="*/ 747682 h 6858000"/>
              <a:gd name="connsiteX33" fmla="*/ 130672 w 11046723"/>
              <a:gd name="connsiteY33" fmla="*/ 671513 h 6858000"/>
              <a:gd name="connsiteX34" fmla="*/ 1036321 w 11046723"/>
              <a:gd name="connsiteY34" fmla="*/ 194310 h 6858000"/>
              <a:gd name="connsiteX35" fmla="*/ 1318737 w 11046723"/>
              <a:gd name="connsiteY35" fmla="*/ 70644 h 6858000"/>
              <a:gd name="connsiteX36" fmla="*/ 1493836 w 11046723"/>
              <a:gd name="connsiteY36"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414333 w 11046723"/>
              <a:gd name="connsiteY14" fmla="*/ 56995 h 6858000"/>
              <a:gd name="connsiteX15" fmla="*/ 7544713 w 11046723"/>
              <a:gd name="connsiteY15" fmla="*/ 169063 h 6858000"/>
              <a:gd name="connsiteX16" fmla="*/ 7454642 w 11046723"/>
              <a:gd name="connsiteY16" fmla="*/ 93267 h 6858000"/>
              <a:gd name="connsiteX17" fmla="*/ 7414333 w 11046723"/>
              <a:gd name="connsiteY17" fmla="*/ 56995 h 6858000"/>
              <a:gd name="connsiteX18" fmla="*/ 7348739 w 11046723"/>
              <a:gd name="connsiteY18" fmla="*/ 0 h 6858000"/>
              <a:gd name="connsiteX19" fmla="*/ 7350996 w 11046723"/>
              <a:gd name="connsiteY19" fmla="*/ 0 h 6858000"/>
              <a:gd name="connsiteX20" fmla="*/ 7414333 w 11046723"/>
              <a:gd name="connsiteY20" fmla="*/ 56995 h 6858000"/>
              <a:gd name="connsiteX21" fmla="*/ 7364096 w 11046723"/>
              <a:gd name="connsiteY21" fmla="*/ 13813 h 6858000"/>
              <a:gd name="connsiteX22" fmla="*/ 7348739 w 11046723"/>
              <a:gd name="connsiteY22" fmla="*/ 0 h 6858000"/>
              <a:gd name="connsiteX23" fmla="*/ 1493836 w 11046723"/>
              <a:gd name="connsiteY23" fmla="*/ 0 h 6858000"/>
              <a:gd name="connsiteX24" fmla="*/ 1493841 w 11046723"/>
              <a:gd name="connsiteY24" fmla="*/ 0 h 6858000"/>
              <a:gd name="connsiteX25" fmla="*/ 1318737 w 11046723"/>
              <a:gd name="connsiteY25" fmla="*/ 70646 h 6858000"/>
              <a:gd name="connsiteX26" fmla="*/ 1036321 w 11046723"/>
              <a:gd name="connsiteY26" fmla="*/ 194312 h 6858000"/>
              <a:gd name="connsiteX27" fmla="*/ 130672 w 11046723"/>
              <a:gd name="connsiteY27" fmla="*/ 671514 h 6858000"/>
              <a:gd name="connsiteX28" fmla="*/ 0 w 11046723"/>
              <a:gd name="connsiteY28" fmla="*/ 747683 h 6858000"/>
              <a:gd name="connsiteX29" fmla="*/ 0 w 11046723"/>
              <a:gd name="connsiteY29" fmla="*/ 747682 h 6858000"/>
              <a:gd name="connsiteX30" fmla="*/ 130672 w 11046723"/>
              <a:gd name="connsiteY30" fmla="*/ 671513 h 6858000"/>
              <a:gd name="connsiteX31" fmla="*/ 1036321 w 11046723"/>
              <a:gd name="connsiteY31" fmla="*/ 194310 h 6858000"/>
              <a:gd name="connsiteX32" fmla="*/ 1318737 w 11046723"/>
              <a:gd name="connsiteY32" fmla="*/ 70644 h 6858000"/>
              <a:gd name="connsiteX33" fmla="*/ 1493836 w 11046723"/>
              <a:gd name="connsiteY33"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414333 w 11046723"/>
              <a:gd name="connsiteY14" fmla="*/ 56995 h 6858000"/>
              <a:gd name="connsiteX15" fmla="*/ 7454642 w 11046723"/>
              <a:gd name="connsiteY15" fmla="*/ 93267 h 6858000"/>
              <a:gd name="connsiteX16" fmla="*/ 7414333 w 11046723"/>
              <a:gd name="connsiteY16" fmla="*/ 56995 h 6858000"/>
              <a:gd name="connsiteX17" fmla="*/ 7348739 w 11046723"/>
              <a:gd name="connsiteY17" fmla="*/ 0 h 6858000"/>
              <a:gd name="connsiteX18" fmla="*/ 7350996 w 11046723"/>
              <a:gd name="connsiteY18" fmla="*/ 0 h 6858000"/>
              <a:gd name="connsiteX19" fmla="*/ 7414333 w 11046723"/>
              <a:gd name="connsiteY19" fmla="*/ 56995 h 6858000"/>
              <a:gd name="connsiteX20" fmla="*/ 7364096 w 11046723"/>
              <a:gd name="connsiteY20" fmla="*/ 13813 h 6858000"/>
              <a:gd name="connsiteX21" fmla="*/ 7348739 w 11046723"/>
              <a:gd name="connsiteY21" fmla="*/ 0 h 6858000"/>
              <a:gd name="connsiteX22" fmla="*/ 1493836 w 11046723"/>
              <a:gd name="connsiteY22" fmla="*/ 0 h 6858000"/>
              <a:gd name="connsiteX23" fmla="*/ 1493841 w 11046723"/>
              <a:gd name="connsiteY23" fmla="*/ 0 h 6858000"/>
              <a:gd name="connsiteX24" fmla="*/ 1318737 w 11046723"/>
              <a:gd name="connsiteY24" fmla="*/ 70646 h 6858000"/>
              <a:gd name="connsiteX25" fmla="*/ 1036321 w 11046723"/>
              <a:gd name="connsiteY25" fmla="*/ 194312 h 6858000"/>
              <a:gd name="connsiteX26" fmla="*/ 130672 w 11046723"/>
              <a:gd name="connsiteY26" fmla="*/ 671514 h 6858000"/>
              <a:gd name="connsiteX27" fmla="*/ 0 w 11046723"/>
              <a:gd name="connsiteY27" fmla="*/ 747683 h 6858000"/>
              <a:gd name="connsiteX28" fmla="*/ 0 w 11046723"/>
              <a:gd name="connsiteY28" fmla="*/ 747682 h 6858000"/>
              <a:gd name="connsiteX29" fmla="*/ 130672 w 11046723"/>
              <a:gd name="connsiteY29" fmla="*/ 671513 h 6858000"/>
              <a:gd name="connsiteX30" fmla="*/ 1036321 w 11046723"/>
              <a:gd name="connsiteY30" fmla="*/ 194310 h 6858000"/>
              <a:gd name="connsiteX31" fmla="*/ 1318737 w 11046723"/>
              <a:gd name="connsiteY31" fmla="*/ 70644 h 6858000"/>
              <a:gd name="connsiteX32" fmla="*/ 1493836 w 11046723"/>
              <a:gd name="connsiteY32"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414333 w 11046723"/>
              <a:gd name="connsiteY14" fmla="*/ 56995 h 6858000"/>
              <a:gd name="connsiteX15" fmla="*/ 7454642 w 11046723"/>
              <a:gd name="connsiteY15" fmla="*/ 93267 h 6858000"/>
              <a:gd name="connsiteX16" fmla="*/ 7414333 w 11046723"/>
              <a:gd name="connsiteY16" fmla="*/ 56995 h 6858000"/>
              <a:gd name="connsiteX17" fmla="*/ 7348739 w 11046723"/>
              <a:gd name="connsiteY17" fmla="*/ 0 h 6858000"/>
              <a:gd name="connsiteX18" fmla="*/ 7350996 w 11046723"/>
              <a:gd name="connsiteY18" fmla="*/ 0 h 6858000"/>
              <a:gd name="connsiteX19" fmla="*/ 7364096 w 11046723"/>
              <a:gd name="connsiteY19" fmla="*/ 13813 h 6858000"/>
              <a:gd name="connsiteX20" fmla="*/ 7348739 w 11046723"/>
              <a:gd name="connsiteY20" fmla="*/ 0 h 6858000"/>
              <a:gd name="connsiteX21" fmla="*/ 1493836 w 11046723"/>
              <a:gd name="connsiteY21" fmla="*/ 0 h 6858000"/>
              <a:gd name="connsiteX22" fmla="*/ 1493841 w 11046723"/>
              <a:gd name="connsiteY22" fmla="*/ 0 h 6858000"/>
              <a:gd name="connsiteX23" fmla="*/ 1318737 w 11046723"/>
              <a:gd name="connsiteY23" fmla="*/ 70646 h 6858000"/>
              <a:gd name="connsiteX24" fmla="*/ 1036321 w 11046723"/>
              <a:gd name="connsiteY24" fmla="*/ 194312 h 6858000"/>
              <a:gd name="connsiteX25" fmla="*/ 130672 w 11046723"/>
              <a:gd name="connsiteY25" fmla="*/ 671514 h 6858000"/>
              <a:gd name="connsiteX26" fmla="*/ 0 w 11046723"/>
              <a:gd name="connsiteY26" fmla="*/ 747683 h 6858000"/>
              <a:gd name="connsiteX27" fmla="*/ 0 w 11046723"/>
              <a:gd name="connsiteY27" fmla="*/ 747682 h 6858000"/>
              <a:gd name="connsiteX28" fmla="*/ 130672 w 11046723"/>
              <a:gd name="connsiteY28" fmla="*/ 671513 h 6858000"/>
              <a:gd name="connsiteX29" fmla="*/ 1036321 w 11046723"/>
              <a:gd name="connsiteY29" fmla="*/ 194310 h 6858000"/>
              <a:gd name="connsiteX30" fmla="*/ 1318737 w 11046723"/>
              <a:gd name="connsiteY30" fmla="*/ 70644 h 6858000"/>
              <a:gd name="connsiteX31" fmla="*/ 1493836 w 11046723"/>
              <a:gd name="connsiteY31"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348739 w 11046723"/>
              <a:gd name="connsiteY14" fmla="*/ 0 h 6858000"/>
              <a:gd name="connsiteX15" fmla="*/ 7350996 w 11046723"/>
              <a:gd name="connsiteY15" fmla="*/ 0 h 6858000"/>
              <a:gd name="connsiteX16" fmla="*/ 7364096 w 11046723"/>
              <a:gd name="connsiteY16" fmla="*/ 13813 h 6858000"/>
              <a:gd name="connsiteX17" fmla="*/ 7348739 w 11046723"/>
              <a:gd name="connsiteY17" fmla="*/ 0 h 6858000"/>
              <a:gd name="connsiteX18" fmla="*/ 1493836 w 11046723"/>
              <a:gd name="connsiteY18" fmla="*/ 0 h 6858000"/>
              <a:gd name="connsiteX19" fmla="*/ 1493841 w 11046723"/>
              <a:gd name="connsiteY19" fmla="*/ 0 h 6858000"/>
              <a:gd name="connsiteX20" fmla="*/ 1318737 w 11046723"/>
              <a:gd name="connsiteY20" fmla="*/ 70646 h 6858000"/>
              <a:gd name="connsiteX21" fmla="*/ 1036321 w 11046723"/>
              <a:gd name="connsiteY21" fmla="*/ 194312 h 6858000"/>
              <a:gd name="connsiteX22" fmla="*/ 130672 w 11046723"/>
              <a:gd name="connsiteY22" fmla="*/ 671514 h 6858000"/>
              <a:gd name="connsiteX23" fmla="*/ 0 w 11046723"/>
              <a:gd name="connsiteY23" fmla="*/ 747683 h 6858000"/>
              <a:gd name="connsiteX24" fmla="*/ 0 w 11046723"/>
              <a:gd name="connsiteY24" fmla="*/ 747682 h 6858000"/>
              <a:gd name="connsiteX25" fmla="*/ 130672 w 11046723"/>
              <a:gd name="connsiteY25" fmla="*/ 671513 h 6858000"/>
              <a:gd name="connsiteX26" fmla="*/ 1036321 w 11046723"/>
              <a:gd name="connsiteY26" fmla="*/ 194310 h 6858000"/>
              <a:gd name="connsiteX27" fmla="*/ 1318737 w 11046723"/>
              <a:gd name="connsiteY27" fmla="*/ 70644 h 6858000"/>
              <a:gd name="connsiteX28" fmla="*/ 1493836 w 11046723"/>
              <a:gd name="connsiteY28"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364096 w 11046723"/>
              <a:gd name="connsiteY14" fmla="*/ 13813 h 6858000"/>
              <a:gd name="connsiteX15" fmla="*/ 7350996 w 11046723"/>
              <a:gd name="connsiteY15" fmla="*/ 0 h 6858000"/>
              <a:gd name="connsiteX16" fmla="*/ 7364096 w 11046723"/>
              <a:gd name="connsiteY16" fmla="*/ 13813 h 6858000"/>
              <a:gd name="connsiteX17" fmla="*/ 1493836 w 11046723"/>
              <a:gd name="connsiteY17" fmla="*/ 0 h 6858000"/>
              <a:gd name="connsiteX18" fmla="*/ 1493841 w 11046723"/>
              <a:gd name="connsiteY18" fmla="*/ 0 h 6858000"/>
              <a:gd name="connsiteX19" fmla="*/ 1318737 w 11046723"/>
              <a:gd name="connsiteY19" fmla="*/ 70646 h 6858000"/>
              <a:gd name="connsiteX20" fmla="*/ 1036321 w 11046723"/>
              <a:gd name="connsiteY20" fmla="*/ 194312 h 6858000"/>
              <a:gd name="connsiteX21" fmla="*/ 130672 w 11046723"/>
              <a:gd name="connsiteY21" fmla="*/ 671514 h 6858000"/>
              <a:gd name="connsiteX22" fmla="*/ 0 w 11046723"/>
              <a:gd name="connsiteY22" fmla="*/ 747683 h 6858000"/>
              <a:gd name="connsiteX23" fmla="*/ 0 w 11046723"/>
              <a:gd name="connsiteY23" fmla="*/ 747682 h 6858000"/>
              <a:gd name="connsiteX24" fmla="*/ 130672 w 11046723"/>
              <a:gd name="connsiteY24" fmla="*/ 671513 h 6858000"/>
              <a:gd name="connsiteX25" fmla="*/ 1036321 w 11046723"/>
              <a:gd name="connsiteY25" fmla="*/ 194310 h 6858000"/>
              <a:gd name="connsiteX26" fmla="*/ 1318737 w 11046723"/>
              <a:gd name="connsiteY26" fmla="*/ 70644 h 6858000"/>
              <a:gd name="connsiteX27" fmla="*/ 1493836 w 11046723"/>
              <a:gd name="connsiteY27"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364096 w 11046723"/>
              <a:gd name="connsiteY14" fmla="*/ 13813 h 6858000"/>
              <a:gd name="connsiteX15" fmla="*/ 7350996 w 11046723"/>
              <a:gd name="connsiteY15" fmla="*/ 0 h 6858000"/>
              <a:gd name="connsiteX16" fmla="*/ 7364096 w 11046723"/>
              <a:gd name="connsiteY16" fmla="*/ 13813 h 6858000"/>
              <a:gd name="connsiteX17" fmla="*/ 1493836 w 11046723"/>
              <a:gd name="connsiteY17" fmla="*/ 0 h 6858000"/>
              <a:gd name="connsiteX18" fmla="*/ 1493841 w 11046723"/>
              <a:gd name="connsiteY18" fmla="*/ 0 h 6858000"/>
              <a:gd name="connsiteX19" fmla="*/ 1318737 w 11046723"/>
              <a:gd name="connsiteY19" fmla="*/ 70646 h 6858000"/>
              <a:gd name="connsiteX20" fmla="*/ 1036321 w 11046723"/>
              <a:gd name="connsiteY20" fmla="*/ 194312 h 6858000"/>
              <a:gd name="connsiteX21" fmla="*/ 130672 w 11046723"/>
              <a:gd name="connsiteY21" fmla="*/ 671514 h 6858000"/>
              <a:gd name="connsiteX22" fmla="*/ 0 w 11046723"/>
              <a:gd name="connsiteY22" fmla="*/ 747683 h 6858000"/>
              <a:gd name="connsiteX23" fmla="*/ 130672 w 11046723"/>
              <a:gd name="connsiteY23" fmla="*/ 671513 h 6858000"/>
              <a:gd name="connsiteX24" fmla="*/ 1036321 w 11046723"/>
              <a:gd name="connsiteY24" fmla="*/ 194310 h 6858000"/>
              <a:gd name="connsiteX25" fmla="*/ 1318737 w 11046723"/>
              <a:gd name="connsiteY25" fmla="*/ 70644 h 6858000"/>
              <a:gd name="connsiteX26" fmla="*/ 1493836 w 11046723"/>
              <a:gd name="connsiteY26"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364096 w 11046723"/>
              <a:gd name="connsiteY14" fmla="*/ 13813 h 6858000"/>
              <a:gd name="connsiteX15" fmla="*/ 7350996 w 11046723"/>
              <a:gd name="connsiteY15" fmla="*/ 0 h 6858000"/>
              <a:gd name="connsiteX16" fmla="*/ 7364096 w 11046723"/>
              <a:gd name="connsiteY16" fmla="*/ 13813 h 6858000"/>
              <a:gd name="connsiteX17" fmla="*/ 1493836 w 11046723"/>
              <a:gd name="connsiteY17" fmla="*/ 0 h 6858000"/>
              <a:gd name="connsiteX18" fmla="*/ 1493841 w 11046723"/>
              <a:gd name="connsiteY18" fmla="*/ 0 h 6858000"/>
              <a:gd name="connsiteX19" fmla="*/ 1318737 w 11046723"/>
              <a:gd name="connsiteY19" fmla="*/ 70646 h 6858000"/>
              <a:gd name="connsiteX20" fmla="*/ 1036321 w 11046723"/>
              <a:gd name="connsiteY20" fmla="*/ 194312 h 6858000"/>
              <a:gd name="connsiteX21" fmla="*/ 130672 w 11046723"/>
              <a:gd name="connsiteY21" fmla="*/ 671514 h 6858000"/>
              <a:gd name="connsiteX22" fmla="*/ 0 w 11046723"/>
              <a:gd name="connsiteY22" fmla="*/ 747683 h 6858000"/>
              <a:gd name="connsiteX23" fmla="*/ 1036321 w 11046723"/>
              <a:gd name="connsiteY23" fmla="*/ 194310 h 6858000"/>
              <a:gd name="connsiteX24" fmla="*/ 1318737 w 11046723"/>
              <a:gd name="connsiteY24" fmla="*/ 70644 h 6858000"/>
              <a:gd name="connsiteX25" fmla="*/ 1493836 w 11046723"/>
              <a:gd name="connsiteY25"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364096 w 11046723"/>
              <a:gd name="connsiteY14" fmla="*/ 13813 h 6858000"/>
              <a:gd name="connsiteX15" fmla="*/ 7350996 w 11046723"/>
              <a:gd name="connsiteY15" fmla="*/ 0 h 6858000"/>
              <a:gd name="connsiteX16" fmla="*/ 7364096 w 11046723"/>
              <a:gd name="connsiteY16" fmla="*/ 13813 h 6858000"/>
              <a:gd name="connsiteX17" fmla="*/ 1493836 w 11046723"/>
              <a:gd name="connsiteY17" fmla="*/ 0 h 6858000"/>
              <a:gd name="connsiteX18" fmla="*/ 1493841 w 11046723"/>
              <a:gd name="connsiteY18" fmla="*/ 0 h 6858000"/>
              <a:gd name="connsiteX19" fmla="*/ 1318737 w 11046723"/>
              <a:gd name="connsiteY19" fmla="*/ 70646 h 6858000"/>
              <a:gd name="connsiteX20" fmla="*/ 1036321 w 11046723"/>
              <a:gd name="connsiteY20" fmla="*/ 194312 h 6858000"/>
              <a:gd name="connsiteX21" fmla="*/ 130672 w 11046723"/>
              <a:gd name="connsiteY21" fmla="*/ 671514 h 6858000"/>
              <a:gd name="connsiteX22" fmla="*/ 1036321 w 11046723"/>
              <a:gd name="connsiteY22" fmla="*/ 194310 h 6858000"/>
              <a:gd name="connsiteX23" fmla="*/ 1318737 w 11046723"/>
              <a:gd name="connsiteY23" fmla="*/ 70644 h 6858000"/>
              <a:gd name="connsiteX24" fmla="*/ 1493836 w 11046723"/>
              <a:gd name="connsiteY24"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364096 w 11046723"/>
              <a:gd name="connsiteY14" fmla="*/ 13813 h 6858000"/>
              <a:gd name="connsiteX15" fmla="*/ 7350996 w 11046723"/>
              <a:gd name="connsiteY15" fmla="*/ 0 h 6858000"/>
              <a:gd name="connsiteX16" fmla="*/ 7364096 w 11046723"/>
              <a:gd name="connsiteY16" fmla="*/ 13813 h 6858000"/>
              <a:gd name="connsiteX17" fmla="*/ 1493836 w 11046723"/>
              <a:gd name="connsiteY17" fmla="*/ 0 h 6858000"/>
              <a:gd name="connsiteX18" fmla="*/ 1493841 w 11046723"/>
              <a:gd name="connsiteY18" fmla="*/ 0 h 6858000"/>
              <a:gd name="connsiteX19" fmla="*/ 1318737 w 11046723"/>
              <a:gd name="connsiteY19" fmla="*/ 70646 h 6858000"/>
              <a:gd name="connsiteX20" fmla="*/ 1036321 w 11046723"/>
              <a:gd name="connsiteY20" fmla="*/ 194312 h 6858000"/>
              <a:gd name="connsiteX21" fmla="*/ 1036321 w 11046723"/>
              <a:gd name="connsiteY21" fmla="*/ 194310 h 6858000"/>
              <a:gd name="connsiteX22" fmla="*/ 1318737 w 11046723"/>
              <a:gd name="connsiteY22" fmla="*/ 70644 h 6858000"/>
              <a:gd name="connsiteX23" fmla="*/ 1493836 w 11046723"/>
              <a:gd name="connsiteY23"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364096 w 11046723"/>
              <a:gd name="connsiteY14" fmla="*/ 13813 h 6858000"/>
              <a:gd name="connsiteX15" fmla="*/ 7350996 w 11046723"/>
              <a:gd name="connsiteY15" fmla="*/ 0 h 6858000"/>
              <a:gd name="connsiteX16" fmla="*/ 7364096 w 11046723"/>
              <a:gd name="connsiteY16" fmla="*/ 13813 h 6858000"/>
              <a:gd name="connsiteX17" fmla="*/ 1493836 w 11046723"/>
              <a:gd name="connsiteY17" fmla="*/ 0 h 6858000"/>
              <a:gd name="connsiteX18" fmla="*/ 1493841 w 11046723"/>
              <a:gd name="connsiteY18" fmla="*/ 0 h 6858000"/>
              <a:gd name="connsiteX19" fmla="*/ 1318737 w 11046723"/>
              <a:gd name="connsiteY19" fmla="*/ 70646 h 6858000"/>
              <a:gd name="connsiteX20" fmla="*/ 1036321 w 11046723"/>
              <a:gd name="connsiteY20" fmla="*/ 194312 h 6858000"/>
              <a:gd name="connsiteX21" fmla="*/ 1318737 w 11046723"/>
              <a:gd name="connsiteY21" fmla="*/ 70644 h 6858000"/>
              <a:gd name="connsiteX22" fmla="*/ 1493836 w 11046723"/>
              <a:gd name="connsiteY22"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364096 w 11046723"/>
              <a:gd name="connsiteY14" fmla="*/ 13813 h 6858000"/>
              <a:gd name="connsiteX15" fmla="*/ 7350996 w 11046723"/>
              <a:gd name="connsiteY15" fmla="*/ 0 h 6858000"/>
              <a:gd name="connsiteX16" fmla="*/ 7364096 w 11046723"/>
              <a:gd name="connsiteY16" fmla="*/ 13813 h 6858000"/>
              <a:gd name="connsiteX17" fmla="*/ 1493836 w 11046723"/>
              <a:gd name="connsiteY17" fmla="*/ 0 h 6858000"/>
              <a:gd name="connsiteX18" fmla="*/ 1493841 w 11046723"/>
              <a:gd name="connsiteY18" fmla="*/ 0 h 6858000"/>
              <a:gd name="connsiteX19" fmla="*/ 1318737 w 11046723"/>
              <a:gd name="connsiteY19" fmla="*/ 70646 h 6858000"/>
              <a:gd name="connsiteX20" fmla="*/ 1318737 w 11046723"/>
              <a:gd name="connsiteY20" fmla="*/ 70644 h 6858000"/>
              <a:gd name="connsiteX21" fmla="*/ 1493836 w 11046723"/>
              <a:gd name="connsiteY21"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364096 w 11046723"/>
              <a:gd name="connsiteY14" fmla="*/ 13813 h 6858000"/>
              <a:gd name="connsiteX15" fmla="*/ 7350996 w 11046723"/>
              <a:gd name="connsiteY15" fmla="*/ 0 h 6858000"/>
              <a:gd name="connsiteX16" fmla="*/ 7364096 w 11046723"/>
              <a:gd name="connsiteY16" fmla="*/ 13813 h 6858000"/>
              <a:gd name="connsiteX17" fmla="*/ 1493836 w 11046723"/>
              <a:gd name="connsiteY17" fmla="*/ 0 h 6858000"/>
              <a:gd name="connsiteX18" fmla="*/ 1493841 w 11046723"/>
              <a:gd name="connsiteY18" fmla="*/ 0 h 6858000"/>
              <a:gd name="connsiteX19" fmla="*/ 1318737 w 11046723"/>
              <a:gd name="connsiteY19" fmla="*/ 70646 h 6858000"/>
              <a:gd name="connsiteX20" fmla="*/ 1493836 w 11046723"/>
              <a:gd name="connsiteY20"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364096 w 11046723"/>
              <a:gd name="connsiteY14" fmla="*/ 13813 h 6858000"/>
              <a:gd name="connsiteX15" fmla="*/ 7350996 w 11046723"/>
              <a:gd name="connsiteY15" fmla="*/ 0 h 6858000"/>
              <a:gd name="connsiteX16" fmla="*/ 7364096 w 11046723"/>
              <a:gd name="connsiteY16" fmla="*/ 13813 h 6858000"/>
              <a:gd name="connsiteX17" fmla="*/ 1493836 w 11046723"/>
              <a:gd name="connsiteY17" fmla="*/ 0 h 6858000"/>
              <a:gd name="connsiteX18" fmla="*/ 1493841 w 11046723"/>
              <a:gd name="connsiteY18" fmla="*/ 0 h 6858000"/>
              <a:gd name="connsiteX19" fmla="*/ 1493836 w 11046723"/>
              <a:gd name="connsiteY19"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364096 w 11046723"/>
              <a:gd name="connsiteY14" fmla="*/ 13813 h 6858000"/>
              <a:gd name="connsiteX15" fmla="*/ 7350996 w 11046723"/>
              <a:gd name="connsiteY15" fmla="*/ 0 h 6858000"/>
              <a:gd name="connsiteX16" fmla="*/ 7364096 w 11046723"/>
              <a:gd name="connsiteY16" fmla="*/ 13813 h 6858000"/>
              <a:gd name="connsiteX0" fmla="*/ 5416523 w 11046723"/>
              <a:gd name="connsiteY0" fmla="*/ 1052 h 6466708"/>
              <a:gd name="connsiteX1" fmla="*/ 7023101 w 11046723"/>
              <a:gd name="connsiteY1" fmla="*/ 270380 h 6466708"/>
              <a:gd name="connsiteX2" fmla="*/ 9331960 w 11046723"/>
              <a:gd name="connsiteY2" fmla="*/ 2066159 h 6466708"/>
              <a:gd name="connsiteX3" fmla="*/ 10982484 w 11046723"/>
              <a:gd name="connsiteY3" fmla="*/ 3929090 h 6466708"/>
              <a:gd name="connsiteX4" fmla="*/ 11046723 w 11046723"/>
              <a:gd name="connsiteY4" fmla="*/ 4008563 h 6466708"/>
              <a:gd name="connsiteX5" fmla="*/ 10950686 w 11046723"/>
              <a:gd name="connsiteY5" fmla="*/ 4024667 h 6466708"/>
              <a:gd name="connsiteX6" fmla="*/ 9269729 w 11046723"/>
              <a:gd name="connsiteY6" fmla="*/ 4701407 h 6466708"/>
              <a:gd name="connsiteX7" fmla="*/ 8111807 w 11046723"/>
              <a:gd name="connsiteY7" fmla="*/ 6429243 h 6466708"/>
              <a:gd name="connsiteX8" fmla="*/ 8096827 w 11046723"/>
              <a:gd name="connsiteY8" fmla="*/ 6466708 h 6466708"/>
              <a:gd name="connsiteX9" fmla="*/ 0 w 11046723"/>
              <a:gd name="connsiteY9" fmla="*/ 6466708 h 6466708"/>
              <a:gd name="connsiteX10" fmla="*/ 0 w 11046723"/>
              <a:gd name="connsiteY10" fmla="*/ 921184 h 6466708"/>
              <a:gd name="connsiteX11" fmla="*/ 393384 w 11046723"/>
              <a:gd name="connsiteY11" fmla="*/ 778718 h 6466708"/>
              <a:gd name="connsiteX12" fmla="*/ 1790701 w 11046723"/>
              <a:gd name="connsiteY12" fmla="*/ 445640 h 6466708"/>
              <a:gd name="connsiteX13" fmla="*/ 5416523 w 11046723"/>
              <a:gd name="connsiteY13" fmla="*/ 1052 h 6466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46723" h="6466708">
                <a:moveTo>
                  <a:pt x="5416523" y="1052"/>
                </a:moveTo>
                <a:cubicBezTo>
                  <a:pt x="5969050" y="10600"/>
                  <a:pt x="6510338" y="86230"/>
                  <a:pt x="7023101" y="270380"/>
                </a:cubicBezTo>
                <a:cubicBezTo>
                  <a:pt x="7934960" y="598040"/>
                  <a:pt x="8686800" y="1374010"/>
                  <a:pt x="9331960" y="2066159"/>
                </a:cubicBezTo>
                <a:cubicBezTo>
                  <a:pt x="9890125" y="2663059"/>
                  <a:pt x="10449243" y="3284089"/>
                  <a:pt x="10982484" y="3929090"/>
                </a:cubicBezTo>
                <a:lnTo>
                  <a:pt x="11046723" y="4008563"/>
                </a:lnTo>
                <a:lnTo>
                  <a:pt x="10950686" y="4024667"/>
                </a:lnTo>
                <a:cubicBezTo>
                  <a:pt x="10386396" y="4130051"/>
                  <a:pt x="9749789" y="4328583"/>
                  <a:pt x="9269729" y="4701407"/>
                </a:cubicBezTo>
                <a:cubicBezTo>
                  <a:pt x="8684259" y="5156067"/>
                  <a:pt x="8351519" y="5842502"/>
                  <a:pt x="8111807" y="6429243"/>
                </a:cubicBezTo>
                <a:lnTo>
                  <a:pt x="8096827" y="6466708"/>
                </a:lnTo>
                <a:lnTo>
                  <a:pt x="0" y="6466708"/>
                </a:lnTo>
                <a:lnTo>
                  <a:pt x="0" y="921184"/>
                </a:lnTo>
                <a:lnTo>
                  <a:pt x="393384" y="778718"/>
                </a:lnTo>
                <a:cubicBezTo>
                  <a:pt x="857727" y="625186"/>
                  <a:pt x="1327786" y="513268"/>
                  <a:pt x="1790701" y="445640"/>
                </a:cubicBezTo>
                <a:cubicBezTo>
                  <a:pt x="2931003" y="278873"/>
                  <a:pt x="4200963" y="-19954"/>
                  <a:pt x="5416523" y="1052"/>
                </a:cubicBezTo>
                <a:close/>
              </a:path>
            </a:pathLst>
          </a:custGeom>
          <a:solidFill>
            <a:schemeClr val="bg1">
              <a:lumMod val="85000"/>
            </a:schemeClr>
          </a:solidFill>
        </p:spPr>
        <p:txBody>
          <a:bodyPr wrap="square" lIns="360000" tIns="720000" rIns="360000" bIns="360000">
            <a:noAutofit/>
          </a:bodyPr>
          <a:lstStyle>
            <a:lvl1pPr algn="ctr" rtl="0">
              <a:defRPr sz="1400"/>
            </a:lvl1pPr>
          </a:lstStyle>
          <a:p>
            <a:r>
              <a:rPr lang="nl-NL" noProof="0" dirty="0"/>
              <a:t>Invoegen beeld</a:t>
            </a:r>
          </a:p>
        </p:txBody>
      </p:sp>
      <p:pic>
        <p:nvPicPr>
          <p:cNvPr id="8" name="Picture 7">
            <a:extLst>
              <a:ext uri="{FF2B5EF4-FFF2-40B4-BE49-F238E27FC236}">
                <a16:creationId xmlns:a16="http://schemas.microsoft.com/office/drawing/2014/main" id="{DAA49266-6ABA-4152-B6A8-7D82B89F7AC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11" name="Group 10">
            <a:extLst>
              <a:ext uri="{FF2B5EF4-FFF2-40B4-BE49-F238E27FC236}">
                <a16:creationId xmlns:a16="http://schemas.microsoft.com/office/drawing/2014/main" id="{5FACC42D-A6B5-4439-B983-D3F715DC3F3E}"/>
              </a:ext>
            </a:extLst>
          </p:cNvPr>
          <p:cNvGrpSpPr/>
          <p:nvPr userDrawn="1"/>
        </p:nvGrpSpPr>
        <p:grpSpPr>
          <a:xfrm>
            <a:off x="9085521" y="5170372"/>
            <a:ext cx="2794535" cy="1492150"/>
            <a:chOff x="9085521" y="5170372"/>
            <a:chExt cx="2794535" cy="1492150"/>
          </a:xfrm>
        </p:grpSpPr>
        <p:pic>
          <p:nvPicPr>
            <p:cNvPr id="12" name="Picture 11">
              <a:extLst>
                <a:ext uri="{FF2B5EF4-FFF2-40B4-BE49-F238E27FC236}">
                  <a16:creationId xmlns:a16="http://schemas.microsoft.com/office/drawing/2014/main" id="{BBFF3879-2BE1-4BD9-A173-B29E9D7D332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85521" y="6395896"/>
              <a:ext cx="1644566" cy="266626"/>
            </a:xfrm>
            <a:prstGeom prst="rect">
              <a:avLst/>
            </a:prstGeom>
          </p:spPr>
        </p:pic>
        <p:pic>
          <p:nvPicPr>
            <p:cNvPr id="13" name="Picture 12">
              <a:extLst>
                <a:ext uri="{FF2B5EF4-FFF2-40B4-BE49-F238E27FC236}">
                  <a16:creationId xmlns:a16="http://schemas.microsoft.com/office/drawing/2014/main" id="{A08BEA30-88BE-4692-B916-20FB32BE40AA}"/>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418660" y="5273120"/>
              <a:ext cx="974665" cy="976700"/>
            </a:xfrm>
            <a:prstGeom prst="rect">
              <a:avLst/>
            </a:prstGeom>
          </p:spPr>
        </p:pic>
        <p:pic>
          <p:nvPicPr>
            <p:cNvPr id="14" name="Picture 13">
              <a:extLst>
                <a:ext uri="{FF2B5EF4-FFF2-40B4-BE49-F238E27FC236}">
                  <a16:creationId xmlns:a16="http://schemas.microsoft.com/office/drawing/2014/main" id="{5FFA2CAA-CA24-4D4E-B997-235E5F763FC5}"/>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643190" y="5170372"/>
              <a:ext cx="1236866" cy="833258"/>
            </a:xfrm>
            <a:prstGeom prst="rect">
              <a:avLst/>
            </a:prstGeom>
          </p:spPr>
        </p:pic>
      </p:grpSp>
      <p:sp>
        <p:nvSpPr>
          <p:cNvPr id="15" name="Text Placeholder 51">
            <a:extLst>
              <a:ext uri="{FF2B5EF4-FFF2-40B4-BE49-F238E27FC236}">
                <a16:creationId xmlns:a16="http://schemas.microsoft.com/office/drawing/2014/main" id="{AAF55364-EDB3-45C4-87DC-C6427FD40CE1}"/>
              </a:ext>
            </a:extLst>
          </p:cNvPr>
          <p:cNvSpPr>
            <a:spLocks noGrp="1"/>
          </p:cNvSpPr>
          <p:nvPr>
            <p:ph type="body" sz="quarter" idx="15" hasCustomPrompt="1"/>
          </p:nvPr>
        </p:nvSpPr>
        <p:spPr>
          <a:xfrm>
            <a:off x="894132" y="5976175"/>
            <a:ext cx="5978060" cy="246221"/>
          </a:xfrm>
          <a:noFill/>
        </p:spPr>
        <p:txBody>
          <a:bodyPr wrap="square" anchor="b">
            <a:spAutoFit/>
          </a:bodyPr>
          <a:lstStyle>
            <a:lvl1pPr marL="0" indent="0" algn="l">
              <a:lnSpc>
                <a:spcPct val="100000"/>
              </a:lnSpc>
              <a:spcBef>
                <a:spcPts val="0"/>
              </a:spcBef>
              <a:spcAft>
                <a:spcPts val="0"/>
              </a:spcAft>
              <a:buFontTx/>
              <a:buNone/>
              <a:defRPr sz="1600">
                <a:solidFill>
                  <a:schemeClr val="bg1"/>
                </a:solidFill>
              </a:defRPr>
            </a:lvl1pPr>
            <a:lvl2pPr marL="457200" indent="0" algn="r">
              <a:lnSpc>
                <a:spcPct val="100000"/>
              </a:lnSpc>
              <a:spcBef>
                <a:spcPts val="0"/>
              </a:spcBef>
              <a:spcAft>
                <a:spcPts val="0"/>
              </a:spcAft>
              <a:buFontTx/>
              <a:buNone/>
              <a:defRPr sz="1400">
                <a:solidFill>
                  <a:schemeClr val="bg1"/>
                </a:solidFill>
              </a:defRPr>
            </a:lvl2pPr>
            <a:lvl3pPr marL="914400" indent="0" algn="r">
              <a:buFontTx/>
              <a:buNone/>
              <a:defRPr sz="1200">
                <a:solidFill>
                  <a:schemeClr val="bg1"/>
                </a:solidFill>
              </a:defRPr>
            </a:lvl3pPr>
            <a:lvl4pPr marL="1371600" indent="0" algn="r">
              <a:buFontTx/>
              <a:buNone/>
              <a:defRPr sz="1200">
                <a:solidFill>
                  <a:schemeClr val="bg1"/>
                </a:solidFill>
              </a:defRPr>
            </a:lvl4pPr>
            <a:lvl5pPr marL="1828800" indent="0" algn="r">
              <a:buFontTx/>
              <a:buNone/>
              <a:defRPr sz="1200">
                <a:solidFill>
                  <a:schemeClr val="bg1"/>
                </a:solidFill>
              </a:defRPr>
            </a:lvl5pPr>
          </a:lstStyle>
          <a:p>
            <a:pPr lvl="0"/>
            <a:r>
              <a:rPr lang="nl-NL" noProof="0" dirty="0"/>
              <a:t>Presenter</a:t>
            </a:r>
          </a:p>
        </p:txBody>
      </p:sp>
      <p:sp>
        <p:nvSpPr>
          <p:cNvPr id="17" name="Title 1">
            <a:extLst>
              <a:ext uri="{FF2B5EF4-FFF2-40B4-BE49-F238E27FC236}">
                <a16:creationId xmlns:a16="http://schemas.microsoft.com/office/drawing/2014/main" id="{F9787D10-E8C9-4BDD-94D0-C9D4C897C936}"/>
              </a:ext>
            </a:extLst>
          </p:cNvPr>
          <p:cNvSpPr>
            <a:spLocks noGrp="1"/>
          </p:cNvSpPr>
          <p:nvPr>
            <p:ph type="ctrTitle"/>
          </p:nvPr>
        </p:nvSpPr>
        <p:spPr>
          <a:xfrm>
            <a:off x="894131" y="1844316"/>
            <a:ext cx="6309979" cy="553998"/>
          </a:xfrm>
        </p:spPr>
        <p:txBody>
          <a:bodyPr vert="horz" anchor="b"/>
          <a:lstStyle>
            <a:lvl1pPr algn="l">
              <a:defRPr sz="4000" b="1">
                <a:latin typeface="+mn-lt"/>
              </a:defRPr>
            </a:lvl1pPr>
          </a:lstStyle>
          <a:p>
            <a:endParaRPr lang="nl-NL" noProof="0" dirty="0"/>
          </a:p>
        </p:txBody>
      </p:sp>
      <p:sp>
        <p:nvSpPr>
          <p:cNvPr id="18" name="Subtitle 2">
            <a:extLst>
              <a:ext uri="{FF2B5EF4-FFF2-40B4-BE49-F238E27FC236}">
                <a16:creationId xmlns:a16="http://schemas.microsoft.com/office/drawing/2014/main" id="{BF73C1D2-4300-4C16-9EAB-A2FE057DCD34}"/>
              </a:ext>
            </a:extLst>
          </p:cNvPr>
          <p:cNvSpPr>
            <a:spLocks noGrp="1"/>
          </p:cNvSpPr>
          <p:nvPr>
            <p:ph type="subTitle" idx="1"/>
          </p:nvPr>
        </p:nvSpPr>
        <p:spPr>
          <a:xfrm>
            <a:off x="894131" y="2423475"/>
            <a:ext cx="6309979" cy="369332"/>
          </a:xfrm>
        </p:spPr>
        <p:txBody>
          <a:bodyPr/>
          <a:lstStyle>
            <a:lvl1pPr marL="0" indent="0" algn="l">
              <a:buNone/>
              <a:defRPr sz="2400" spc="2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l-NL" noProof="0" dirty="0"/>
          </a:p>
        </p:txBody>
      </p:sp>
    </p:spTree>
    <p:extLst>
      <p:ext uri="{BB962C8B-B14F-4D97-AF65-F5344CB8AC3E}">
        <p14:creationId xmlns:p14="http://schemas.microsoft.com/office/powerpoint/2010/main" val="28800718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II-b / var. bee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A6A69BE-8ACE-4B3F-BA14-70E31DB23CD0}"/>
              </a:ext>
            </a:extLst>
          </p:cNvPr>
          <p:cNvGraphicFramePr>
            <a:graphicFrameLocks noChangeAspect="1"/>
          </p:cNvGraphicFramePr>
          <p:nvPr userDrawn="1">
            <p:custDataLst>
              <p:tags r:id="rId1"/>
            </p:custDataLst>
            <p:extLst>
              <p:ext uri="{D42A27DB-BD31-4B8C-83A1-F6EECF244321}">
                <p14:modId xmlns:p14="http://schemas.microsoft.com/office/powerpoint/2010/main" val="2847731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9" imgH="429" progId="TCLayout.ActiveDocument.1">
                  <p:embed/>
                </p:oleObj>
              </mc:Choice>
              <mc:Fallback>
                <p:oleObj name="think-cell Slide" r:id="rId3" imgW="429" imgH="429" progId="TCLayout.ActiveDocument.1">
                  <p:embed/>
                  <p:pic>
                    <p:nvPicPr>
                      <p:cNvPr id="6" name="Object 5" hidden="1">
                        <a:extLst>
                          <a:ext uri="{FF2B5EF4-FFF2-40B4-BE49-F238E27FC236}">
                            <a16:creationId xmlns:a16="http://schemas.microsoft.com/office/drawing/2014/main" id="{CA6A69BE-8ACE-4B3F-BA14-70E31DB23C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2324698C-7EBF-4207-931A-DBEA47C1EF08}"/>
              </a:ext>
            </a:extLst>
          </p:cNvPr>
          <p:cNvSpPr>
            <a:spLocks noGrp="1"/>
          </p:cNvSpPr>
          <p:nvPr>
            <p:ph type="pic" sz="quarter" idx="16" hasCustomPrompt="1"/>
          </p:nvPr>
        </p:nvSpPr>
        <p:spPr>
          <a:xfrm>
            <a:off x="-2" y="391292"/>
            <a:ext cx="11046723" cy="6466708"/>
          </a:xfrm>
          <a:custGeom>
            <a:avLst/>
            <a:gdLst>
              <a:gd name="connsiteX0" fmla="*/ 12144881 w 12187957"/>
              <a:gd name="connsiteY0" fmla="*/ 2699113 h 6858000"/>
              <a:gd name="connsiteX1" fmla="*/ 12187957 w 12187957"/>
              <a:gd name="connsiteY1" fmla="*/ 2725743 h 6858000"/>
              <a:gd name="connsiteX2" fmla="*/ 12187957 w 12187957"/>
              <a:gd name="connsiteY2" fmla="*/ 2725897 h 6858000"/>
              <a:gd name="connsiteX3" fmla="*/ 11625258 w 12187957"/>
              <a:gd name="connsiteY3" fmla="*/ 2106063 h 6858000"/>
              <a:gd name="connsiteX4" fmla="*/ 11629346 w 12187957"/>
              <a:gd name="connsiteY4" fmla="*/ 2112520 h 6858000"/>
              <a:gd name="connsiteX5" fmla="*/ 11648080 w 12187957"/>
              <a:gd name="connsiteY5" fmla="*/ 2146495 h 6858000"/>
              <a:gd name="connsiteX6" fmla="*/ 11494204 w 12187957"/>
              <a:gd name="connsiteY6" fmla="*/ 1905523 h 6858000"/>
              <a:gd name="connsiteX7" fmla="*/ 11523841 w 12187957"/>
              <a:gd name="connsiteY7" fmla="*/ 1945872 h 6858000"/>
              <a:gd name="connsiteX8" fmla="*/ 11550310 w 12187957"/>
              <a:gd name="connsiteY8" fmla="*/ 1987681 h 6858000"/>
              <a:gd name="connsiteX9" fmla="*/ 11326061 w 12187957"/>
              <a:gd name="connsiteY9" fmla="*/ 1692532 h 6858000"/>
              <a:gd name="connsiteX10" fmla="*/ 11406282 w 12187957"/>
              <a:gd name="connsiteY10" fmla="*/ 1785822 h 6858000"/>
              <a:gd name="connsiteX11" fmla="*/ 11420409 w 12187957"/>
              <a:gd name="connsiteY11" fmla="*/ 1805055 h 6858000"/>
              <a:gd name="connsiteX12" fmla="*/ 10829453 w 12187957"/>
              <a:gd name="connsiteY12" fmla="*/ 1199865 h 6858000"/>
              <a:gd name="connsiteX13" fmla="*/ 10830227 w 12187957"/>
              <a:gd name="connsiteY13" fmla="*/ 1200518 h 6858000"/>
              <a:gd name="connsiteX14" fmla="*/ 10836860 w 12187957"/>
              <a:gd name="connsiteY14" fmla="*/ 1206669 h 6858000"/>
              <a:gd name="connsiteX15" fmla="*/ 10586019 w 12187957"/>
              <a:gd name="connsiteY15" fmla="*/ 995058 h 6858000"/>
              <a:gd name="connsiteX16" fmla="*/ 10594661 w 12187957"/>
              <a:gd name="connsiteY16" fmla="*/ 1001698 h 6858000"/>
              <a:gd name="connsiteX17" fmla="*/ 10635916 w 12187957"/>
              <a:gd name="connsiteY17" fmla="*/ 1036517 h 6858000"/>
              <a:gd name="connsiteX18" fmla="*/ 10333954 w 12187957"/>
              <a:gd name="connsiteY18" fmla="*/ 802539 h 6858000"/>
              <a:gd name="connsiteX19" fmla="*/ 10350933 w 12187957"/>
              <a:gd name="connsiteY19" fmla="*/ 814415 h 6858000"/>
              <a:gd name="connsiteX20" fmla="*/ 10404349 w 12187957"/>
              <a:gd name="connsiteY20" fmla="*/ 855460 h 6858000"/>
              <a:gd name="connsiteX21" fmla="*/ 10073757 w 12187957"/>
              <a:gd name="connsiteY21" fmla="*/ 622182 h 6858000"/>
              <a:gd name="connsiteX22" fmla="*/ 10099498 w 12187957"/>
              <a:gd name="connsiteY22" fmla="*/ 638556 h 6858000"/>
              <a:gd name="connsiteX23" fmla="*/ 10157163 w 12187957"/>
              <a:gd name="connsiteY23" fmla="*/ 678888 h 6858000"/>
              <a:gd name="connsiteX24" fmla="*/ 9805942 w 12187957"/>
              <a:gd name="connsiteY24" fmla="*/ 453866 h 6858000"/>
              <a:gd name="connsiteX25" fmla="*/ 9840808 w 12187957"/>
              <a:gd name="connsiteY25" fmla="*/ 474006 h 6858000"/>
              <a:gd name="connsiteX26" fmla="*/ 9898785 w 12187957"/>
              <a:gd name="connsiteY26" fmla="*/ 510885 h 6858000"/>
              <a:gd name="connsiteX27" fmla="*/ 5416523 w 12187957"/>
              <a:gd name="connsiteY27" fmla="*/ 392344 h 6858000"/>
              <a:gd name="connsiteX28" fmla="*/ 7023101 w 12187957"/>
              <a:gd name="connsiteY28" fmla="*/ 661672 h 6858000"/>
              <a:gd name="connsiteX29" fmla="*/ 9331960 w 12187957"/>
              <a:gd name="connsiteY29" fmla="*/ 2457451 h 6858000"/>
              <a:gd name="connsiteX30" fmla="*/ 10982484 w 12187957"/>
              <a:gd name="connsiteY30" fmla="*/ 4320382 h 6858000"/>
              <a:gd name="connsiteX31" fmla="*/ 11046723 w 12187957"/>
              <a:gd name="connsiteY31" fmla="*/ 4399855 h 6858000"/>
              <a:gd name="connsiteX32" fmla="*/ 10950686 w 12187957"/>
              <a:gd name="connsiteY32" fmla="*/ 4415959 h 6858000"/>
              <a:gd name="connsiteX33" fmla="*/ 9269729 w 12187957"/>
              <a:gd name="connsiteY33" fmla="*/ 5092699 h 6858000"/>
              <a:gd name="connsiteX34" fmla="*/ 8111807 w 12187957"/>
              <a:gd name="connsiteY34" fmla="*/ 6820535 h 6858000"/>
              <a:gd name="connsiteX35" fmla="*/ 8096827 w 12187957"/>
              <a:gd name="connsiteY35" fmla="*/ 6858000 h 6858000"/>
              <a:gd name="connsiteX36" fmla="*/ 0 w 12187957"/>
              <a:gd name="connsiteY36" fmla="*/ 6858000 h 6858000"/>
              <a:gd name="connsiteX37" fmla="*/ 0 w 12187957"/>
              <a:gd name="connsiteY37" fmla="*/ 1312476 h 6858000"/>
              <a:gd name="connsiteX38" fmla="*/ 393384 w 12187957"/>
              <a:gd name="connsiteY38" fmla="*/ 1170010 h 6858000"/>
              <a:gd name="connsiteX39" fmla="*/ 1790701 w 12187957"/>
              <a:gd name="connsiteY39" fmla="*/ 836932 h 6858000"/>
              <a:gd name="connsiteX40" fmla="*/ 5416523 w 12187957"/>
              <a:gd name="connsiteY40" fmla="*/ 392344 h 6858000"/>
              <a:gd name="connsiteX41" fmla="*/ 7788060 w 12187957"/>
              <a:gd name="connsiteY41" fmla="*/ 373174 h 6858000"/>
              <a:gd name="connsiteX42" fmla="*/ 7951989 w 12187957"/>
              <a:gd name="connsiteY42" fmla="*/ 496695 h 6858000"/>
              <a:gd name="connsiteX43" fmla="*/ 8131809 w 12187957"/>
              <a:gd name="connsiteY43" fmla="*/ 618490 h 6858000"/>
              <a:gd name="connsiteX44" fmla="*/ 10486389 w 12187957"/>
              <a:gd name="connsiteY44" fmla="*/ 1795780 h 6858000"/>
              <a:gd name="connsiteX45" fmla="*/ 10759439 w 12187957"/>
              <a:gd name="connsiteY45" fmla="*/ 1939290 h 6858000"/>
              <a:gd name="connsiteX46" fmla="*/ 11288712 w 12187957"/>
              <a:gd name="connsiteY46" fmla="*/ 2224564 h 6858000"/>
              <a:gd name="connsiteX47" fmla="*/ 11837227 w 12187957"/>
              <a:gd name="connsiteY47" fmla="*/ 2521293 h 6858000"/>
              <a:gd name="connsiteX48" fmla="*/ 11837228 w 12187957"/>
              <a:gd name="connsiteY48" fmla="*/ 2521295 h 6858000"/>
              <a:gd name="connsiteX49" fmla="*/ 11288712 w 12187957"/>
              <a:gd name="connsiteY49" fmla="*/ 2224565 h 6858000"/>
              <a:gd name="connsiteX50" fmla="*/ 10759440 w 12187957"/>
              <a:gd name="connsiteY50" fmla="*/ 1939291 h 6858000"/>
              <a:gd name="connsiteX51" fmla="*/ 10486390 w 12187957"/>
              <a:gd name="connsiteY51" fmla="*/ 1795782 h 6858000"/>
              <a:gd name="connsiteX52" fmla="*/ 8131810 w 12187957"/>
              <a:gd name="connsiteY52" fmla="*/ 619761 h 6858000"/>
              <a:gd name="connsiteX53" fmla="*/ 7927023 w 12187957"/>
              <a:gd name="connsiteY53" fmla="*/ 479920 h 6858000"/>
              <a:gd name="connsiteX54" fmla="*/ 7778945 w 12187957"/>
              <a:gd name="connsiteY54" fmla="*/ 366172 h 6858000"/>
              <a:gd name="connsiteX55" fmla="*/ 7788060 w 12187957"/>
              <a:gd name="connsiteY55" fmla="*/ 373174 h 6858000"/>
              <a:gd name="connsiteX56" fmla="*/ 7780464 w 12187957"/>
              <a:gd name="connsiteY56" fmla="*/ 367450 h 6858000"/>
              <a:gd name="connsiteX57" fmla="*/ 9531011 w 12187957"/>
              <a:gd name="connsiteY57" fmla="*/ 297464 h 6858000"/>
              <a:gd name="connsiteX58" fmla="*/ 9575319 w 12187957"/>
              <a:gd name="connsiteY58" fmla="*/ 320654 h 6858000"/>
              <a:gd name="connsiteX59" fmla="*/ 9631237 w 12187957"/>
              <a:gd name="connsiteY59" fmla="*/ 352953 h 6858000"/>
              <a:gd name="connsiteX60" fmla="*/ 7544713 w 12187957"/>
              <a:gd name="connsiteY60" fmla="*/ 169063 h 6858000"/>
              <a:gd name="connsiteX61" fmla="*/ 7778945 w 12187957"/>
              <a:gd name="connsiteY61" fmla="*/ 366172 h 6858000"/>
              <a:gd name="connsiteX62" fmla="*/ 7732713 w 12187957"/>
              <a:gd name="connsiteY62" fmla="*/ 330658 h 6858000"/>
              <a:gd name="connsiteX63" fmla="*/ 9249484 w 12187957"/>
              <a:gd name="connsiteY63" fmla="*/ 152855 h 6858000"/>
              <a:gd name="connsiteX64" fmla="*/ 9303483 w 12187957"/>
              <a:gd name="connsiteY64" fmla="*/ 178384 h 6858000"/>
              <a:gd name="connsiteX65" fmla="*/ 9355726 w 12187957"/>
              <a:gd name="connsiteY65" fmla="*/ 205726 h 6858000"/>
              <a:gd name="connsiteX66" fmla="*/ 7414333 w 12187957"/>
              <a:gd name="connsiteY66" fmla="*/ 56995 h 6858000"/>
              <a:gd name="connsiteX67" fmla="*/ 7544713 w 12187957"/>
              <a:gd name="connsiteY67" fmla="*/ 169063 h 6858000"/>
              <a:gd name="connsiteX68" fmla="*/ 7454642 w 12187957"/>
              <a:gd name="connsiteY68" fmla="*/ 93267 h 6858000"/>
              <a:gd name="connsiteX69" fmla="*/ 8961873 w 12187957"/>
              <a:gd name="connsiteY69" fmla="*/ 19913 h 6858000"/>
              <a:gd name="connsiteX70" fmla="*/ 9025753 w 12187957"/>
              <a:gd name="connsiteY70" fmla="*/ 47084 h 6858000"/>
              <a:gd name="connsiteX71" fmla="*/ 9073123 w 12187957"/>
              <a:gd name="connsiteY71" fmla="*/ 69479 h 6858000"/>
              <a:gd name="connsiteX72" fmla="*/ 7348739 w 12187957"/>
              <a:gd name="connsiteY72" fmla="*/ 0 h 6858000"/>
              <a:gd name="connsiteX73" fmla="*/ 7350996 w 12187957"/>
              <a:gd name="connsiteY73" fmla="*/ 0 h 6858000"/>
              <a:gd name="connsiteX74" fmla="*/ 7414333 w 12187957"/>
              <a:gd name="connsiteY74" fmla="*/ 56995 h 6858000"/>
              <a:gd name="connsiteX75" fmla="*/ 7364096 w 12187957"/>
              <a:gd name="connsiteY75" fmla="*/ 13813 h 6858000"/>
              <a:gd name="connsiteX76" fmla="*/ 1493836 w 12187957"/>
              <a:gd name="connsiteY76" fmla="*/ 0 h 6858000"/>
              <a:gd name="connsiteX77" fmla="*/ 1493841 w 12187957"/>
              <a:gd name="connsiteY77" fmla="*/ 0 h 6858000"/>
              <a:gd name="connsiteX78" fmla="*/ 1318737 w 12187957"/>
              <a:gd name="connsiteY78" fmla="*/ 70646 h 6858000"/>
              <a:gd name="connsiteX79" fmla="*/ 1036321 w 12187957"/>
              <a:gd name="connsiteY79" fmla="*/ 194312 h 6858000"/>
              <a:gd name="connsiteX80" fmla="*/ 130672 w 12187957"/>
              <a:gd name="connsiteY80" fmla="*/ 671514 h 6858000"/>
              <a:gd name="connsiteX81" fmla="*/ 0 w 12187957"/>
              <a:gd name="connsiteY81" fmla="*/ 747683 h 6858000"/>
              <a:gd name="connsiteX82" fmla="*/ 0 w 12187957"/>
              <a:gd name="connsiteY82" fmla="*/ 747682 h 6858000"/>
              <a:gd name="connsiteX83" fmla="*/ 130672 w 12187957"/>
              <a:gd name="connsiteY83" fmla="*/ 671513 h 6858000"/>
              <a:gd name="connsiteX84" fmla="*/ 1036321 w 12187957"/>
              <a:gd name="connsiteY84" fmla="*/ 194310 h 6858000"/>
              <a:gd name="connsiteX85" fmla="*/ 1318737 w 12187957"/>
              <a:gd name="connsiteY85" fmla="*/ 70644 h 6858000"/>
              <a:gd name="connsiteX0" fmla="*/ 12187957 w 12187957"/>
              <a:gd name="connsiteY0" fmla="*/ 2725897 h 6858000"/>
              <a:gd name="connsiteX1" fmla="*/ 12187957 w 12187957"/>
              <a:gd name="connsiteY1" fmla="*/ 2725743 h 6858000"/>
              <a:gd name="connsiteX2" fmla="*/ 12187957 w 12187957"/>
              <a:gd name="connsiteY2" fmla="*/ 2725897 h 6858000"/>
              <a:gd name="connsiteX3" fmla="*/ 11625258 w 12187957"/>
              <a:gd name="connsiteY3" fmla="*/ 2106063 h 6858000"/>
              <a:gd name="connsiteX4" fmla="*/ 11629346 w 12187957"/>
              <a:gd name="connsiteY4" fmla="*/ 2112520 h 6858000"/>
              <a:gd name="connsiteX5" fmla="*/ 11648080 w 12187957"/>
              <a:gd name="connsiteY5" fmla="*/ 2146495 h 6858000"/>
              <a:gd name="connsiteX6" fmla="*/ 11625258 w 12187957"/>
              <a:gd name="connsiteY6" fmla="*/ 2106063 h 6858000"/>
              <a:gd name="connsiteX7" fmla="*/ 11494204 w 12187957"/>
              <a:gd name="connsiteY7" fmla="*/ 1905523 h 6858000"/>
              <a:gd name="connsiteX8" fmla="*/ 11523841 w 12187957"/>
              <a:gd name="connsiteY8" fmla="*/ 1945872 h 6858000"/>
              <a:gd name="connsiteX9" fmla="*/ 11550310 w 12187957"/>
              <a:gd name="connsiteY9" fmla="*/ 1987681 h 6858000"/>
              <a:gd name="connsiteX10" fmla="*/ 11494204 w 12187957"/>
              <a:gd name="connsiteY10" fmla="*/ 1905523 h 6858000"/>
              <a:gd name="connsiteX11" fmla="*/ 11326061 w 12187957"/>
              <a:gd name="connsiteY11" fmla="*/ 1692532 h 6858000"/>
              <a:gd name="connsiteX12" fmla="*/ 11406282 w 12187957"/>
              <a:gd name="connsiteY12" fmla="*/ 1785822 h 6858000"/>
              <a:gd name="connsiteX13" fmla="*/ 11420409 w 12187957"/>
              <a:gd name="connsiteY13" fmla="*/ 1805055 h 6858000"/>
              <a:gd name="connsiteX14" fmla="*/ 11326061 w 12187957"/>
              <a:gd name="connsiteY14" fmla="*/ 1692532 h 6858000"/>
              <a:gd name="connsiteX15" fmla="*/ 10829453 w 12187957"/>
              <a:gd name="connsiteY15" fmla="*/ 1199865 h 6858000"/>
              <a:gd name="connsiteX16" fmla="*/ 10830227 w 12187957"/>
              <a:gd name="connsiteY16" fmla="*/ 1200518 h 6858000"/>
              <a:gd name="connsiteX17" fmla="*/ 10836860 w 12187957"/>
              <a:gd name="connsiteY17" fmla="*/ 1206669 h 6858000"/>
              <a:gd name="connsiteX18" fmla="*/ 10829453 w 12187957"/>
              <a:gd name="connsiteY18" fmla="*/ 1199865 h 6858000"/>
              <a:gd name="connsiteX19" fmla="*/ 10586019 w 12187957"/>
              <a:gd name="connsiteY19" fmla="*/ 995058 h 6858000"/>
              <a:gd name="connsiteX20" fmla="*/ 10594661 w 12187957"/>
              <a:gd name="connsiteY20" fmla="*/ 1001698 h 6858000"/>
              <a:gd name="connsiteX21" fmla="*/ 10635916 w 12187957"/>
              <a:gd name="connsiteY21" fmla="*/ 1036517 h 6858000"/>
              <a:gd name="connsiteX22" fmla="*/ 10586019 w 12187957"/>
              <a:gd name="connsiteY22" fmla="*/ 995058 h 6858000"/>
              <a:gd name="connsiteX23" fmla="*/ 10333954 w 12187957"/>
              <a:gd name="connsiteY23" fmla="*/ 802539 h 6858000"/>
              <a:gd name="connsiteX24" fmla="*/ 10350933 w 12187957"/>
              <a:gd name="connsiteY24" fmla="*/ 814415 h 6858000"/>
              <a:gd name="connsiteX25" fmla="*/ 10404349 w 12187957"/>
              <a:gd name="connsiteY25" fmla="*/ 855460 h 6858000"/>
              <a:gd name="connsiteX26" fmla="*/ 10333954 w 12187957"/>
              <a:gd name="connsiteY26" fmla="*/ 802539 h 6858000"/>
              <a:gd name="connsiteX27" fmla="*/ 10073757 w 12187957"/>
              <a:gd name="connsiteY27" fmla="*/ 622182 h 6858000"/>
              <a:gd name="connsiteX28" fmla="*/ 10099498 w 12187957"/>
              <a:gd name="connsiteY28" fmla="*/ 638556 h 6858000"/>
              <a:gd name="connsiteX29" fmla="*/ 10157163 w 12187957"/>
              <a:gd name="connsiteY29" fmla="*/ 678888 h 6858000"/>
              <a:gd name="connsiteX30" fmla="*/ 10073757 w 12187957"/>
              <a:gd name="connsiteY30" fmla="*/ 622182 h 6858000"/>
              <a:gd name="connsiteX31" fmla="*/ 9805942 w 12187957"/>
              <a:gd name="connsiteY31" fmla="*/ 453866 h 6858000"/>
              <a:gd name="connsiteX32" fmla="*/ 9840808 w 12187957"/>
              <a:gd name="connsiteY32" fmla="*/ 474006 h 6858000"/>
              <a:gd name="connsiteX33" fmla="*/ 9898785 w 12187957"/>
              <a:gd name="connsiteY33" fmla="*/ 510885 h 6858000"/>
              <a:gd name="connsiteX34" fmla="*/ 9805942 w 12187957"/>
              <a:gd name="connsiteY34" fmla="*/ 453866 h 6858000"/>
              <a:gd name="connsiteX35" fmla="*/ 5416523 w 12187957"/>
              <a:gd name="connsiteY35" fmla="*/ 392344 h 6858000"/>
              <a:gd name="connsiteX36" fmla="*/ 7023101 w 12187957"/>
              <a:gd name="connsiteY36" fmla="*/ 661672 h 6858000"/>
              <a:gd name="connsiteX37" fmla="*/ 9331960 w 12187957"/>
              <a:gd name="connsiteY37" fmla="*/ 2457451 h 6858000"/>
              <a:gd name="connsiteX38" fmla="*/ 10982484 w 12187957"/>
              <a:gd name="connsiteY38" fmla="*/ 4320382 h 6858000"/>
              <a:gd name="connsiteX39" fmla="*/ 11046723 w 12187957"/>
              <a:gd name="connsiteY39" fmla="*/ 4399855 h 6858000"/>
              <a:gd name="connsiteX40" fmla="*/ 10950686 w 12187957"/>
              <a:gd name="connsiteY40" fmla="*/ 4415959 h 6858000"/>
              <a:gd name="connsiteX41" fmla="*/ 9269729 w 12187957"/>
              <a:gd name="connsiteY41" fmla="*/ 5092699 h 6858000"/>
              <a:gd name="connsiteX42" fmla="*/ 8111807 w 12187957"/>
              <a:gd name="connsiteY42" fmla="*/ 6820535 h 6858000"/>
              <a:gd name="connsiteX43" fmla="*/ 8096827 w 12187957"/>
              <a:gd name="connsiteY43" fmla="*/ 6858000 h 6858000"/>
              <a:gd name="connsiteX44" fmla="*/ 0 w 12187957"/>
              <a:gd name="connsiteY44" fmla="*/ 6858000 h 6858000"/>
              <a:gd name="connsiteX45" fmla="*/ 0 w 12187957"/>
              <a:gd name="connsiteY45" fmla="*/ 1312476 h 6858000"/>
              <a:gd name="connsiteX46" fmla="*/ 393384 w 12187957"/>
              <a:gd name="connsiteY46" fmla="*/ 1170010 h 6858000"/>
              <a:gd name="connsiteX47" fmla="*/ 1790701 w 12187957"/>
              <a:gd name="connsiteY47" fmla="*/ 836932 h 6858000"/>
              <a:gd name="connsiteX48" fmla="*/ 5416523 w 12187957"/>
              <a:gd name="connsiteY48" fmla="*/ 392344 h 6858000"/>
              <a:gd name="connsiteX49" fmla="*/ 7788060 w 12187957"/>
              <a:gd name="connsiteY49" fmla="*/ 373174 h 6858000"/>
              <a:gd name="connsiteX50" fmla="*/ 7951989 w 12187957"/>
              <a:gd name="connsiteY50" fmla="*/ 496695 h 6858000"/>
              <a:gd name="connsiteX51" fmla="*/ 8131809 w 12187957"/>
              <a:gd name="connsiteY51" fmla="*/ 618490 h 6858000"/>
              <a:gd name="connsiteX52" fmla="*/ 10486389 w 12187957"/>
              <a:gd name="connsiteY52" fmla="*/ 1795780 h 6858000"/>
              <a:gd name="connsiteX53" fmla="*/ 10759439 w 12187957"/>
              <a:gd name="connsiteY53" fmla="*/ 1939290 h 6858000"/>
              <a:gd name="connsiteX54" fmla="*/ 11288712 w 12187957"/>
              <a:gd name="connsiteY54" fmla="*/ 2224564 h 6858000"/>
              <a:gd name="connsiteX55" fmla="*/ 11837227 w 12187957"/>
              <a:gd name="connsiteY55" fmla="*/ 2521293 h 6858000"/>
              <a:gd name="connsiteX56" fmla="*/ 11837228 w 12187957"/>
              <a:gd name="connsiteY56" fmla="*/ 2521295 h 6858000"/>
              <a:gd name="connsiteX57" fmla="*/ 11288712 w 12187957"/>
              <a:gd name="connsiteY57" fmla="*/ 2224565 h 6858000"/>
              <a:gd name="connsiteX58" fmla="*/ 10759440 w 12187957"/>
              <a:gd name="connsiteY58" fmla="*/ 1939291 h 6858000"/>
              <a:gd name="connsiteX59" fmla="*/ 10486390 w 12187957"/>
              <a:gd name="connsiteY59" fmla="*/ 1795782 h 6858000"/>
              <a:gd name="connsiteX60" fmla="*/ 8131810 w 12187957"/>
              <a:gd name="connsiteY60" fmla="*/ 619761 h 6858000"/>
              <a:gd name="connsiteX61" fmla="*/ 7927023 w 12187957"/>
              <a:gd name="connsiteY61" fmla="*/ 479920 h 6858000"/>
              <a:gd name="connsiteX62" fmla="*/ 7788060 w 12187957"/>
              <a:gd name="connsiteY62" fmla="*/ 373174 h 6858000"/>
              <a:gd name="connsiteX63" fmla="*/ 7778945 w 12187957"/>
              <a:gd name="connsiteY63" fmla="*/ 366172 h 6858000"/>
              <a:gd name="connsiteX64" fmla="*/ 7788060 w 12187957"/>
              <a:gd name="connsiteY64" fmla="*/ 373174 h 6858000"/>
              <a:gd name="connsiteX65" fmla="*/ 7780464 w 12187957"/>
              <a:gd name="connsiteY65" fmla="*/ 367450 h 6858000"/>
              <a:gd name="connsiteX66" fmla="*/ 7778945 w 12187957"/>
              <a:gd name="connsiteY66" fmla="*/ 366172 h 6858000"/>
              <a:gd name="connsiteX67" fmla="*/ 9531011 w 12187957"/>
              <a:gd name="connsiteY67" fmla="*/ 297464 h 6858000"/>
              <a:gd name="connsiteX68" fmla="*/ 9575319 w 12187957"/>
              <a:gd name="connsiteY68" fmla="*/ 320654 h 6858000"/>
              <a:gd name="connsiteX69" fmla="*/ 9631237 w 12187957"/>
              <a:gd name="connsiteY69" fmla="*/ 352953 h 6858000"/>
              <a:gd name="connsiteX70" fmla="*/ 9531011 w 12187957"/>
              <a:gd name="connsiteY70" fmla="*/ 297464 h 6858000"/>
              <a:gd name="connsiteX71" fmla="*/ 7544713 w 12187957"/>
              <a:gd name="connsiteY71" fmla="*/ 169063 h 6858000"/>
              <a:gd name="connsiteX72" fmla="*/ 7778945 w 12187957"/>
              <a:gd name="connsiteY72" fmla="*/ 366172 h 6858000"/>
              <a:gd name="connsiteX73" fmla="*/ 7732713 w 12187957"/>
              <a:gd name="connsiteY73" fmla="*/ 330658 h 6858000"/>
              <a:gd name="connsiteX74" fmla="*/ 7544713 w 12187957"/>
              <a:gd name="connsiteY74" fmla="*/ 169063 h 6858000"/>
              <a:gd name="connsiteX75" fmla="*/ 9249484 w 12187957"/>
              <a:gd name="connsiteY75" fmla="*/ 152855 h 6858000"/>
              <a:gd name="connsiteX76" fmla="*/ 9303483 w 12187957"/>
              <a:gd name="connsiteY76" fmla="*/ 178384 h 6858000"/>
              <a:gd name="connsiteX77" fmla="*/ 9355726 w 12187957"/>
              <a:gd name="connsiteY77" fmla="*/ 205726 h 6858000"/>
              <a:gd name="connsiteX78" fmla="*/ 9249484 w 12187957"/>
              <a:gd name="connsiteY78" fmla="*/ 152855 h 6858000"/>
              <a:gd name="connsiteX79" fmla="*/ 7414333 w 12187957"/>
              <a:gd name="connsiteY79" fmla="*/ 56995 h 6858000"/>
              <a:gd name="connsiteX80" fmla="*/ 7544713 w 12187957"/>
              <a:gd name="connsiteY80" fmla="*/ 169063 h 6858000"/>
              <a:gd name="connsiteX81" fmla="*/ 7454642 w 12187957"/>
              <a:gd name="connsiteY81" fmla="*/ 93267 h 6858000"/>
              <a:gd name="connsiteX82" fmla="*/ 7414333 w 12187957"/>
              <a:gd name="connsiteY82" fmla="*/ 56995 h 6858000"/>
              <a:gd name="connsiteX83" fmla="*/ 8961873 w 12187957"/>
              <a:gd name="connsiteY83" fmla="*/ 19913 h 6858000"/>
              <a:gd name="connsiteX84" fmla="*/ 9025753 w 12187957"/>
              <a:gd name="connsiteY84" fmla="*/ 47084 h 6858000"/>
              <a:gd name="connsiteX85" fmla="*/ 9073123 w 12187957"/>
              <a:gd name="connsiteY85" fmla="*/ 69479 h 6858000"/>
              <a:gd name="connsiteX86" fmla="*/ 8961873 w 12187957"/>
              <a:gd name="connsiteY86" fmla="*/ 19913 h 6858000"/>
              <a:gd name="connsiteX87" fmla="*/ 7348739 w 12187957"/>
              <a:gd name="connsiteY87" fmla="*/ 0 h 6858000"/>
              <a:gd name="connsiteX88" fmla="*/ 7350996 w 12187957"/>
              <a:gd name="connsiteY88" fmla="*/ 0 h 6858000"/>
              <a:gd name="connsiteX89" fmla="*/ 7414333 w 12187957"/>
              <a:gd name="connsiteY89" fmla="*/ 56995 h 6858000"/>
              <a:gd name="connsiteX90" fmla="*/ 7364096 w 12187957"/>
              <a:gd name="connsiteY90" fmla="*/ 13813 h 6858000"/>
              <a:gd name="connsiteX91" fmla="*/ 7348739 w 12187957"/>
              <a:gd name="connsiteY91" fmla="*/ 0 h 6858000"/>
              <a:gd name="connsiteX92" fmla="*/ 1493836 w 12187957"/>
              <a:gd name="connsiteY92" fmla="*/ 0 h 6858000"/>
              <a:gd name="connsiteX93" fmla="*/ 1493841 w 12187957"/>
              <a:gd name="connsiteY93" fmla="*/ 0 h 6858000"/>
              <a:gd name="connsiteX94" fmla="*/ 1318737 w 12187957"/>
              <a:gd name="connsiteY94" fmla="*/ 70646 h 6858000"/>
              <a:gd name="connsiteX95" fmla="*/ 1036321 w 12187957"/>
              <a:gd name="connsiteY95" fmla="*/ 194312 h 6858000"/>
              <a:gd name="connsiteX96" fmla="*/ 130672 w 12187957"/>
              <a:gd name="connsiteY96" fmla="*/ 671514 h 6858000"/>
              <a:gd name="connsiteX97" fmla="*/ 0 w 12187957"/>
              <a:gd name="connsiteY97" fmla="*/ 747683 h 6858000"/>
              <a:gd name="connsiteX98" fmla="*/ 0 w 12187957"/>
              <a:gd name="connsiteY98" fmla="*/ 747682 h 6858000"/>
              <a:gd name="connsiteX99" fmla="*/ 130672 w 12187957"/>
              <a:gd name="connsiteY99" fmla="*/ 671513 h 6858000"/>
              <a:gd name="connsiteX100" fmla="*/ 1036321 w 12187957"/>
              <a:gd name="connsiteY100" fmla="*/ 194310 h 6858000"/>
              <a:gd name="connsiteX101" fmla="*/ 1318737 w 12187957"/>
              <a:gd name="connsiteY101" fmla="*/ 70644 h 6858000"/>
              <a:gd name="connsiteX102" fmla="*/ 1493836 w 12187957"/>
              <a:gd name="connsiteY102" fmla="*/ 0 h 6858000"/>
              <a:gd name="connsiteX0" fmla="*/ 11625258 w 11837228"/>
              <a:gd name="connsiteY0" fmla="*/ 2106063 h 6858000"/>
              <a:gd name="connsiteX1" fmla="*/ 11629346 w 11837228"/>
              <a:gd name="connsiteY1" fmla="*/ 2112520 h 6858000"/>
              <a:gd name="connsiteX2" fmla="*/ 11648080 w 11837228"/>
              <a:gd name="connsiteY2" fmla="*/ 2146495 h 6858000"/>
              <a:gd name="connsiteX3" fmla="*/ 11625258 w 11837228"/>
              <a:gd name="connsiteY3" fmla="*/ 2106063 h 6858000"/>
              <a:gd name="connsiteX4" fmla="*/ 11494204 w 11837228"/>
              <a:gd name="connsiteY4" fmla="*/ 1905523 h 6858000"/>
              <a:gd name="connsiteX5" fmla="*/ 11523841 w 11837228"/>
              <a:gd name="connsiteY5" fmla="*/ 1945872 h 6858000"/>
              <a:gd name="connsiteX6" fmla="*/ 11550310 w 11837228"/>
              <a:gd name="connsiteY6" fmla="*/ 1987681 h 6858000"/>
              <a:gd name="connsiteX7" fmla="*/ 11494204 w 11837228"/>
              <a:gd name="connsiteY7" fmla="*/ 1905523 h 6858000"/>
              <a:gd name="connsiteX8" fmla="*/ 11326061 w 11837228"/>
              <a:gd name="connsiteY8" fmla="*/ 1692532 h 6858000"/>
              <a:gd name="connsiteX9" fmla="*/ 11406282 w 11837228"/>
              <a:gd name="connsiteY9" fmla="*/ 1785822 h 6858000"/>
              <a:gd name="connsiteX10" fmla="*/ 11420409 w 11837228"/>
              <a:gd name="connsiteY10" fmla="*/ 1805055 h 6858000"/>
              <a:gd name="connsiteX11" fmla="*/ 11326061 w 11837228"/>
              <a:gd name="connsiteY11" fmla="*/ 1692532 h 6858000"/>
              <a:gd name="connsiteX12" fmla="*/ 10829453 w 11837228"/>
              <a:gd name="connsiteY12" fmla="*/ 1199865 h 6858000"/>
              <a:gd name="connsiteX13" fmla="*/ 10830227 w 11837228"/>
              <a:gd name="connsiteY13" fmla="*/ 1200518 h 6858000"/>
              <a:gd name="connsiteX14" fmla="*/ 10836860 w 11837228"/>
              <a:gd name="connsiteY14" fmla="*/ 1206669 h 6858000"/>
              <a:gd name="connsiteX15" fmla="*/ 10829453 w 11837228"/>
              <a:gd name="connsiteY15" fmla="*/ 1199865 h 6858000"/>
              <a:gd name="connsiteX16" fmla="*/ 10586019 w 11837228"/>
              <a:gd name="connsiteY16" fmla="*/ 995058 h 6858000"/>
              <a:gd name="connsiteX17" fmla="*/ 10594661 w 11837228"/>
              <a:gd name="connsiteY17" fmla="*/ 1001698 h 6858000"/>
              <a:gd name="connsiteX18" fmla="*/ 10635916 w 11837228"/>
              <a:gd name="connsiteY18" fmla="*/ 1036517 h 6858000"/>
              <a:gd name="connsiteX19" fmla="*/ 10586019 w 11837228"/>
              <a:gd name="connsiteY19" fmla="*/ 995058 h 6858000"/>
              <a:gd name="connsiteX20" fmla="*/ 10333954 w 11837228"/>
              <a:gd name="connsiteY20" fmla="*/ 802539 h 6858000"/>
              <a:gd name="connsiteX21" fmla="*/ 10350933 w 11837228"/>
              <a:gd name="connsiteY21" fmla="*/ 814415 h 6858000"/>
              <a:gd name="connsiteX22" fmla="*/ 10404349 w 11837228"/>
              <a:gd name="connsiteY22" fmla="*/ 855460 h 6858000"/>
              <a:gd name="connsiteX23" fmla="*/ 10333954 w 11837228"/>
              <a:gd name="connsiteY23" fmla="*/ 802539 h 6858000"/>
              <a:gd name="connsiteX24" fmla="*/ 10073757 w 11837228"/>
              <a:gd name="connsiteY24" fmla="*/ 622182 h 6858000"/>
              <a:gd name="connsiteX25" fmla="*/ 10099498 w 11837228"/>
              <a:gd name="connsiteY25" fmla="*/ 638556 h 6858000"/>
              <a:gd name="connsiteX26" fmla="*/ 10157163 w 11837228"/>
              <a:gd name="connsiteY26" fmla="*/ 678888 h 6858000"/>
              <a:gd name="connsiteX27" fmla="*/ 10073757 w 11837228"/>
              <a:gd name="connsiteY27" fmla="*/ 622182 h 6858000"/>
              <a:gd name="connsiteX28" fmla="*/ 9805942 w 11837228"/>
              <a:gd name="connsiteY28" fmla="*/ 453866 h 6858000"/>
              <a:gd name="connsiteX29" fmla="*/ 9840808 w 11837228"/>
              <a:gd name="connsiteY29" fmla="*/ 474006 h 6858000"/>
              <a:gd name="connsiteX30" fmla="*/ 9898785 w 11837228"/>
              <a:gd name="connsiteY30" fmla="*/ 510885 h 6858000"/>
              <a:gd name="connsiteX31" fmla="*/ 9805942 w 11837228"/>
              <a:gd name="connsiteY31" fmla="*/ 453866 h 6858000"/>
              <a:gd name="connsiteX32" fmla="*/ 5416523 w 11837228"/>
              <a:gd name="connsiteY32" fmla="*/ 392344 h 6858000"/>
              <a:gd name="connsiteX33" fmla="*/ 7023101 w 11837228"/>
              <a:gd name="connsiteY33" fmla="*/ 661672 h 6858000"/>
              <a:gd name="connsiteX34" fmla="*/ 9331960 w 11837228"/>
              <a:gd name="connsiteY34" fmla="*/ 2457451 h 6858000"/>
              <a:gd name="connsiteX35" fmla="*/ 10982484 w 11837228"/>
              <a:gd name="connsiteY35" fmla="*/ 4320382 h 6858000"/>
              <a:gd name="connsiteX36" fmla="*/ 11046723 w 11837228"/>
              <a:gd name="connsiteY36" fmla="*/ 4399855 h 6858000"/>
              <a:gd name="connsiteX37" fmla="*/ 10950686 w 11837228"/>
              <a:gd name="connsiteY37" fmla="*/ 4415959 h 6858000"/>
              <a:gd name="connsiteX38" fmla="*/ 9269729 w 11837228"/>
              <a:gd name="connsiteY38" fmla="*/ 5092699 h 6858000"/>
              <a:gd name="connsiteX39" fmla="*/ 8111807 w 11837228"/>
              <a:gd name="connsiteY39" fmla="*/ 6820535 h 6858000"/>
              <a:gd name="connsiteX40" fmla="*/ 8096827 w 11837228"/>
              <a:gd name="connsiteY40" fmla="*/ 6858000 h 6858000"/>
              <a:gd name="connsiteX41" fmla="*/ 0 w 11837228"/>
              <a:gd name="connsiteY41" fmla="*/ 6858000 h 6858000"/>
              <a:gd name="connsiteX42" fmla="*/ 0 w 11837228"/>
              <a:gd name="connsiteY42" fmla="*/ 1312476 h 6858000"/>
              <a:gd name="connsiteX43" fmla="*/ 393384 w 11837228"/>
              <a:gd name="connsiteY43" fmla="*/ 1170010 h 6858000"/>
              <a:gd name="connsiteX44" fmla="*/ 1790701 w 11837228"/>
              <a:gd name="connsiteY44" fmla="*/ 836932 h 6858000"/>
              <a:gd name="connsiteX45" fmla="*/ 5416523 w 11837228"/>
              <a:gd name="connsiteY45" fmla="*/ 392344 h 6858000"/>
              <a:gd name="connsiteX46" fmla="*/ 7788060 w 11837228"/>
              <a:gd name="connsiteY46" fmla="*/ 373174 h 6858000"/>
              <a:gd name="connsiteX47" fmla="*/ 7951989 w 11837228"/>
              <a:gd name="connsiteY47" fmla="*/ 496695 h 6858000"/>
              <a:gd name="connsiteX48" fmla="*/ 8131809 w 11837228"/>
              <a:gd name="connsiteY48" fmla="*/ 618490 h 6858000"/>
              <a:gd name="connsiteX49" fmla="*/ 10486389 w 11837228"/>
              <a:gd name="connsiteY49" fmla="*/ 1795780 h 6858000"/>
              <a:gd name="connsiteX50" fmla="*/ 10759439 w 11837228"/>
              <a:gd name="connsiteY50" fmla="*/ 1939290 h 6858000"/>
              <a:gd name="connsiteX51" fmla="*/ 11288712 w 11837228"/>
              <a:gd name="connsiteY51" fmla="*/ 2224564 h 6858000"/>
              <a:gd name="connsiteX52" fmla="*/ 11837227 w 11837228"/>
              <a:gd name="connsiteY52" fmla="*/ 2521293 h 6858000"/>
              <a:gd name="connsiteX53" fmla="*/ 11837228 w 11837228"/>
              <a:gd name="connsiteY53" fmla="*/ 2521295 h 6858000"/>
              <a:gd name="connsiteX54" fmla="*/ 11288712 w 11837228"/>
              <a:gd name="connsiteY54" fmla="*/ 2224565 h 6858000"/>
              <a:gd name="connsiteX55" fmla="*/ 10759440 w 11837228"/>
              <a:gd name="connsiteY55" fmla="*/ 1939291 h 6858000"/>
              <a:gd name="connsiteX56" fmla="*/ 10486390 w 11837228"/>
              <a:gd name="connsiteY56" fmla="*/ 1795782 h 6858000"/>
              <a:gd name="connsiteX57" fmla="*/ 8131810 w 11837228"/>
              <a:gd name="connsiteY57" fmla="*/ 619761 h 6858000"/>
              <a:gd name="connsiteX58" fmla="*/ 7927023 w 11837228"/>
              <a:gd name="connsiteY58" fmla="*/ 479920 h 6858000"/>
              <a:gd name="connsiteX59" fmla="*/ 7788060 w 11837228"/>
              <a:gd name="connsiteY59" fmla="*/ 373174 h 6858000"/>
              <a:gd name="connsiteX60" fmla="*/ 7778945 w 11837228"/>
              <a:gd name="connsiteY60" fmla="*/ 366172 h 6858000"/>
              <a:gd name="connsiteX61" fmla="*/ 7788060 w 11837228"/>
              <a:gd name="connsiteY61" fmla="*/ 373174 h 6858000"/>
              <a:gd name="connsiteX62" fmla="*/ 7780464 w 11837228"/>
              <a:gd name="connsiteY62" fmla="*/ 367450 h 6858000"/>
              <a:gd name="connsiteX63" fmla="*/ 7778945 w 11837228"/>
              <a:gd name="connsiteY63" fmla="*/ 366172 h 6858000"/>
              <a:gd name="connsiteX64" fmla="*/ 9531011 w 11837228"/>
              <a:gd name="connsiteY64" fmla="*/ 297464 h 6858000"/>
              <a:gd name="connsiteX65" fmla="*/ 9575319 w 11837228"/>
              <a:gd name="connsiteY65" fmla="*/ 320654 h 6858000"/>
              <a:gd name="connsiteX66" fmla="*/ 9631237 w 11837228"/>
              <a:gd name="connsiteY66" fmla="*/ 352953 h 6858000"/>
              <a:gd name="connsiteX67" fmla="*/ 9531011 w 11837228"/>
              <a:gd name="connsiteY67" fmla="*/ 297464 h 6858000"/>
              <a:gd name="connsiteX68" fmla="*/ 7544713 w 11837228"/>
              <a:gd name="connsiteY68" fmla="*/ 169063 h 6858000"/>
              <a:gd name="connsiteX69" fmla="*/ 7778945 w 11837228"/>
              <a:gd name="connsiteY69" fmla="*/ 366172 h 6858000"/>
              <a:gd name="connsiteX70" fmla="*/ 7732713 w 11837228"/>
              <a:gd name="connsiteY70" fmla="*/ 330658 h 6858000"/>
              <a:gd name="connsiteX71" fmla="*/ 7544713 w 11837228"/>
              <a:gd name="connsiteY71" fmla="*/ 169063 h 6858000"/>
              <a:gd name="connsiteX72" fmla="*/ 9249484 w 11837228"/>
              <a:gd name="connsiteY72" fmla="*/ 152855 h 6858000"/>
              <a:gd name="connsiteX73" fmla="*/ 9303483 w 11837228"/>
              <a:gd name="connsiteY73" fmla="*/ 178384 h 6858000"/>
              <a:gd name="connsiteX74" fmla="*/ 9355726 w 11837228"/>
              <a:gd name="connsiteY74" fmla="*/ 205726 h 6858000"/>
              <a:gd name="connsiteX75" fmla="*/ 9249484 w 11837228"/>
              <a:gd name="connsiteY75" fmla="*/ 152855 h 6858000"/>
              <a:gd name="connsiteX76" fmla="*/ 7414333 w 11837228"/>
              <a:gd name="connsiteY76" fmla="*/ 56995 h 6858000"/>
              <a:gd name="connsiteX77" fmla="*/ 7544713 w 11837228"/>
              <a:gd name="connsiteY77" fmla="*/ 169063 h 6858000"/>
              <a:gd name="connsiteX78" fmla="*/ 7454642 w 11837228"/>
              <a:gd name="connsiteY78" fmla="*/ 93267 h 6858000"/>
              <a:gd name="connsiteX79" fmla="*/ 7414333 w 11837228"/>
              <a:gd name="connsiteY79" fmla="*/ 56995 h 6858000"/>
              <a:gd name="connsiteX80" fmla="*/ 8961873 w 11837228"/>
              <a:gd name="connsiteY80" fmla="*/ 19913 h 6858000"/>
              <a:gd name="connsiteX81" fmla="*/ 9025753 w 11837228"/>
              <a:gd name="connsiteY81" fmla="*/ 47084 h 6858000"/>
              <a:gd name="connsiteX82" fmla="*/ 9073123 w 11837228"/>
              <a:gd name="connsiteY82" fmla="*/ 69479 h 6858000"/>
              <a:gd name="connsiteX83" fmla="*/ 8961873 w 11837228"/>
              <a:gd name="connsiteY83" fmla="*/ 19913 h 6858000"/>
              <a:gd name="connsiteX84" fmla="*/ 7348739 w 11837228"/>
              <a:gd name="connsiteY84" fmla="*/ 0 h 6858000"/>
              <a:gd name="connsiteX85" fmla="*/ 7350996 w 11837228"/>
              <a:gd name="connsiteY85" fmla="*/ 0 h 6858000"/>
              <a:gd name="connsiteX86" fmla="*/ 7414333 w 11837228"/>
              <a:gd name="connsiteY86" fmla="*/ 56995 h 6858000"/>
              <a:gd name="connsiteX87" fmla="*/ 7364096 w 11837228"/>
              <a:gd name="connsiteY87" fmla="*/ 13813 h 6858000"/>
              <a:gd name="connsiteX88" fmla="*/ 7348739 w 11837228"/>
              <a:gd name="connsiteY88" fmla="*/ 0 h 6858000"/>
              <a:gd name="connsiteX89" fmla="*/ 1493836 w 11837228"/>
              <a:gd name="connsiteY89" fmla="*/ 0 h 6858000"/>
              <a:gd name="connsiteX90" fmla="*/ 1493841 w 11837228"/>
              <a:gd name="connsiteY90" fmla="*/ 0 h 6858000"/>
              <a:gd name="connsiteX91" fmla="*/ 1318737 w 11837228"/>
              <a:gd name="connsiteY91" fmla="*/ 70646 h 6858000"/>
              <a:gd name="connsiteX92" fmla="*/ 1036321 w 11837228"/>
              <a:gd name="connsiteY92" fmla="*/ 194312 h 6858000"/>
              <a:gd name="connsiteX93" fmla="*/ 130672 w 11837228"/>
              <a:gd name="connsiteY93" fmla="*/ 671514 h 6858000"/>
              <a:gd name="connsiteX94" fmla="*/ 0 w 11837228"/>
              <a:gd name="connsiteY94" fmla="*/ 747683 h 6858000"/>
              <a:gd name="connsiteX95" fmla="*/ 0 w 11837228"/>
              <a:gd name="connsiteY95" fmla="*/ 747682 h 6858000"/>
              <a:gd name="connsiteX96" fmla="*/ 130672 w 11837228"/>
              <a:gd name="connsiteY96" fmla="*/ 671513 h 6858000"/>
              <a:gd name="connsiteX97" fmla="*/ 1036321 w 11837228"/>
              <a:gd name="connsiteY97" fmla="*/ 194310 h 6858000"/>
              <a:gd name="connsiteX98" fmla="*/ 1318737 w 11837228"/>
              <a:gd name="connsiteY98" fmla="*/ 70644 h 6858000"/>
              <a:gd name="connsiteX99" fmla="*/ 1493836 w 11837228"/>
              <a:gd name="connsiteY99" fmla="*/ 0 h 6858000"/>
              <a:gd name="connsiteX0" fmla="*/ 11625258 w 11837227"/>
              <a:gd name="connsiteY0" fmla="*/ 2106063 h 6858000"/>
              <a:gd name="connsiteX1" fmla="*/ 11629346 w 11837227"/>
              <a:gd name="connsiteY1" fmla="*/ 2112520 h 6858000"/>
              <a:gd name="connsiteX2" fmla="*/ 11648080 w 11837227"/>
              <a:gd name="connsiteY2" fmla="*/ 2146495 h 6858000"/>
              <a:gd name="connsiteX3" fmla="*/ 11625258 w 11837227"/>
              <a:gd name="connsiteY3" fmla="*/ 2106063 h 6858000"/>
              <a:gd name="connsiteX4" fmla="*/ 11494204 w 11837227"/>
              <a:gd name="connsiteY4" fmla="*/ 1905523 h 6858000"/>
              <a:gd name="connsiteX5" fmla="*/ 11523841 w 11837227"/>
              <a:gd name="connsiteY5" fmla="*/ 1945872 h 6858000"/>
              <a:gd name="connsiteX6" fmla="*/ 11550310 w 11837227"/>
              <a:gd name="connsiteY6" fmla="*/ 1987681 h 6858000"/>
              <a:gd name="connsiteX7" fmla="*/ 11494204 w 11837227"/>
              <a:gd name="connsiteY7" fmla="*/ 1905523 h 6858000"/>
              <a:gd name="connsiteX8" fmla="*/ 11326061 w 11837227"/>
              <a:gd name="connsiteY8" fmla="*/ 1692532 h 6858000"/>
              <a:gd name="connsiteX9" fmla="*/ 11406282 w 11837227"/>
              <a:gd name="connsiteY9" fmla="*/ 1785822 h 6858000"/>
              <a:gd name="connsiteX10" fmla="*/ 11420409 w 11837227"/>
              <a:gd name="connsiteY10" fmla="*/ 1805055 h 6858000"/>
              <a:gd name="connsiteX11" fmla="*/ 11326061 w 11837227"/>
              <a:gd name="connsiteY11" fmla="*/ 1692532 h 6858000"/>
              <a:gd name="connsiteX12" fmla="*/ 10829453 w 11837227"/>
              <a:gd name="connsiteY12" fmla="*/ 1199865 h 6858000"/>
              <a:gd name="connsiteX13" fmla="*/ 10830227 w 11837227"/>
              <a:gd name="connsiteY13" fmla="*/ 1200518 h 6858000"/>
              <a:gd name="connsiteX14" fmla="*/ 10836860 w 11837227"/>
              <a:gd name="connsiteY14" fmla="*/ 1206669 h 6858000"/>
              <a:gd name="connsiteX15" fmla="*/ 10829453 w 11837227"/>
              <a:gd name="connsiteY15" fmla="*/ 1199865 h 6858000"/>
              <a:gd name="connsiteX16" fmla="*/ 10586019 w 11837227"/>
              <a:gd name="connsiteY16" fmla="*/ 995058 h 6858000"/>
              <a:gd name="connsiteX17" fmla="*/ 10594661 w 11837227"/>
              <a:gd name="connsiteY17" fmla="*/ 1001698 h 6858000"/>
              <a:gd name="connsiteX18" fmla="*/ 10635916 w 11837227"/>
              <a:gd name="connsiteY18" fmla="*/ 1036517 h 6858000"/>
              <a:gd name="connsiteX19" fmla="*/ 10586019 w 11837227"/>
              <a:gd name="connsiteY19" fmla="*/ 995058 h 6858000"/>
              <a:gd name="connsiteX20" fmla="*/ 10333954 w 11837227"/>
              <a:gd name="connsiteY20" fmla="*/ 802539 h 6858000"/>
              <a:gd name="connsiteX21" fmla="*/ 10350933 w 11837227"/>
              <a:gd name="connsiteY21" fmla="*/ 814415 h 6858000"/>
              <a:gd name="connsiteX22" fmla="*/ 10404349 w 11837227"/>
              <a:gd name="connsiteY22" fmla="*/ 855460 h 6858000"/>
              <a:gd name="connsiteX23" fmla="*/ 10333954 w 11837227"/>
              <a:gd name="connsiteY23" fmla="*/ 802539 h 6858000"/>
              <a:gd name="connsiteX24" fmla="*/ 10073757 w 11837227"/>
              <a:gd name="connsiteY24" fmla="*/ 622182 h 6858000"/>
              <a:gd name="connsiteX25" fmla="*/ 10099498 w 11837227"/>
              <a:gd name="connsiteY25" fmla="*/ 638556 h 6858000"/>
              <a:gd name="connsiteX26" fmla="*/ 10157163 w 11837227"/>
              <a:gd name="connsiteY26" fmla="*/ 678888 h 6858000"/>
              <a:gd name="connsiteX27" fmla="*/ 10073757 w 11837227"/>
              <a:gd name="connsiteY27" fmla="*/ 622182 h 6858000"/>
              <a:gd name="connsiteX28" fmla="*/ 9805942 w 11837227"/>
              <a:gd name="connsiteY28" fmla="*/ 453866 h 6858000"/>
              <a:gd name="connsiteX29" fmla="*/ 9840808 w 11837227"/>
              <a:gd name="connsiteY29" fmla="*/ 474006 h 6858000"/>
              <a:gd name="connsiteX30" fmla="*/ 9898785 w 11837227"/>
              <a:gd name="connsiteY30" fmla="*/ 510885 h 6858000"/>
              <a:gd name="connsiteX31" fmla="*/ 9805942 w 11837227"/>
              <a:gd name="connsiteY31" fmla="*/ 453866 h 6858000"/>
              <a:gd name="connsiteX32" fmla="*/ 5416523 w 11837227"/>
              <a:gd name="connsiteY32" fmla="*/ 392344 h 6858000"/>
              <a:gd name="connsiteX33" fmla="*/ 7023101 w 11837227"/>
              <a:gd name="connsiteY33" fmla="*/ 661672 h 6858000"/>
              <a:gd name="connsiteX34" fmla="*/ 9331960 w 11837227"/>
              <a:gd name="connsiteY34" fmla="*/ 2457451 h 6858000"/>
              <a:gd name="connsiteX35" fmla="*/ 10982484 w 11837227"/>
              <a:gd name="connsiteY35" fmla="*/ 4320382 h 6858000"/>
              <a:gd name="connsiteX36" fmla="*/ 11046723 w 11837227"/>
              <a:gd name="connsiteY36" fmla="*/ 4399855 h 6858000"/>
              <a:gd name="connsiteX37" fmla="*/ 10950686 w 11837227"/>
              <a:gd name="connsiteY37" fmla="*/ 4415959 h 6858000"/>
              <a:gd name="connsiteX38" fmla="*/ 9269729 w 11837227"/>
              <a:gd name="connsiteY38" fmla="*/ 5092699 h 6858000"/>
              <a:gd name="connsiteX39" fmla="*/ 8111807 w 11837227"/>
              <a:gd name="connsiteY39" fmla="*/ 6820535 h 6858000"/>
              <a:gd name="connsiteX40" fmla="*/ 8096827 w 11837227"/>
              <a:gd name="connsiteY40" fmla="*/ 6858000 h 6858000"/>
              <a:gd name="connsiteX41" fmla="*/ 0 w 11837227"/>
              <a:gd name="connsiteY41" fmla="*/ 6858000 h 6858000"/>
              <a:gd name="connsiteX42" fmla="*/ 0 w 11837227"/>
              <a:gd name="connsiteY42" fmla="*/ 1312476 h 6858000"/>
              <a:gd name="connsiteX43" fmla="*/ 393384 w 11837227"/>
              <a:gd name="connsiteY43" fmla="*/ 1170010 h 6858000"/>
              <a:gd name="connsiteX44" fmla="*/ 1790701 w 11837227"/>
              <a:gd name="connsiteY44" fmla="*/ 836932 h 6858000"/>
              <a:gd name="connsiteX45" fmla="*/ 5416523 w 11837227"/>
              <a:gd name="connsiteY45" fmla="*/ 392344 h 6858000"/>
              <a:gd name="connsiteX46" fmla="*/ 7788060 w 11837227"/>
              <a:gd name="connsiteY46" fmla="*/ 373174 h 6858000"/>
              <a:gd name="connsiteX47" fmla="*/ 7951989 w 11837227"/>
              <a:gd name="connsiteY47" fmla="*/ 496695 h 6858000"/>
              <a:gd name="connsiteX48" fmla="*/ 8131809 w 11837227"/>
              <a:gd name="connsiteY48" fmla="*/ 618490 h 6858000"/>
              <a:gd name="connsiteX49" fmla="*/ 10486389 w 11837227"/>
              <a:gd name="connsiteY49" fmla="*/ 1795780 h 6858000"/>
              <a:gd name="connsiteX50" fmla="*/ 10759439 w 11837227"/>
              <a:gd name="connsiteY50" fmla="*/ 1939290 h 6858000"/>
              <a:gd name="connsiteX51" fmla="*/ 11288712 w 11837227"/>
              <a:gd name="connsiteY51" fmla="*/ 2224564 h 6858000"/>
              <a:gd name="connsiteX52" fmla="*/ 11837227 w 11837227"/>
              <a:gd name="connsiteY52" fmla="*/ 2521293 h 6858000"/>
              <a:gd name="connsiteX53" fmla="*/ 11288712 w 11837227"/>
              <a:gd name="connsiteY53" fmla="*/ 2224565 h 6858000"/>
              <a:gd name="connsiteX54" fmla="*/ 10759440 w 11837227"/>
              <a:gd name="connsiteY54" fmla="*/ 1939291 h 6858000"/>
              <a:gd name="connsiteX55" fmla="*/ 10486390 w 11837227"/>
              <a:gd name="connsiteY55" fmla="*/ 1795782 h 6858000"/>
              <a:gd name="connsiteX56" fmla="*/ 8131810 w 11837227"/>
              <a:gd name="connsiteY56" fmla="*/ 619761 h 6858000"/>
              <a:gd name="connsiteX57" fmla="*/ 7927023 w 11837227"/>
              <a:gd name="connsiteY57" fmla="*/ 479920 h 6858000"/>
              <a:gd name="connsiteX58" fmla="*/ 7788060 w 11837227"/>
              <a:gd name="connsiteY58" fmla="*/ 373174 h 6858000"/>
              <a:gd name="connsiteX59" fmla="*/ 7778945 w 11837227"/>
              <a:gd name="connsiteY59" fmla="*/ 366172 h 6858000"/>
              <a:gd name="connsiteX60" fmla="*/ 7788060 w 11837227"/>
              <a:gd name="connsiteY60" fmla="*/ 373174 h 6858000"/>
              <a:gd name="connsiteX61" fmla="*/ 7780464 w 11837227"/>
              <a:gd name="connsiteY61" fmla="*/ 367450 h 6858000"/>
              <a:gd name="connsiteX62" fmla="*/ 7778945 w 11837227"/>
              <a:gd name="connsiteY62" fmla="*/ 366172 h 6858000"/>
              <a:gd name="connsiteX63" fmla="*/ 9531011 w 11837227"/>
              <a:gd name="connsiteY63" fmla="*/ 297464 h 6858000"/>
              <a:gd name="connsiteX64" fmla="*/ 9575319 w 11837227"/>
              <a:gd name="connsiteY64" fmla="*/ 320654 h 6858000"/>
              <a:gd name="connsiteX65" fmla="*/ 9631237 w 11837227"/>
              <a:gd name="connsiteY65" fmla="*/ 352953 h 6858000"/>
              <a:gd name="connsiteX66" fmla="*/ 9531011 w 11837227"/>
              <a:gd name="connsiteY66" fmla="*/ 297464 h 6858000"/>
              <a:gd name="connsiteX67" fmla="*/ 7544713 w 11837227"/>
              <a:gd name="connsiteY67" fmla="*/ 169063 h 6858000"/>
              <a:gd name="connsiteX68" fmla="*/ 7778945 w 11837227"/>
              <a:gd name="connsiteY68" fmla="*/ 366172 h 6858000"/>
              <a:gd name="connsiteX69" fmla="*/ 7732713 w 11837227"/>
              <a:gd name="connsiteY69" fmla="*/ 330658 h 6858000"/>
              <a:gd name="connsiteX70" fmla="*/ 7544713 w 11837227"/>
              <a:gd name="connsiteY70" fmla="*/ 169063 h 6858000"/>
              <a:gd name="connsiteX71" fmla="*/ 9249484 w 11837227"/>
              <a:gd name="connsiteY71" fmla="*/ 152855 h 6858000"/>
              <a:gd name="connsiteX72" fmla="*/ 9303483 w 11837227"/>
              <a:gd name="connsiteY72" fmla="*/ 178384 h 6858000"/>
              <a:gd name="connsiteX73" fmla="*/ 9355726 w 11837227"/>
              <a:gd name="connsiteY73" fmla="*/ 205726 h 6858000"/>
              <a:gd name="connsiteX74" fmla="*/ 9249484 w 11837227"/>
              <a:gd name="connsiteY74" fmla="*/ 152855 h 6858000"/>
              <a:gd name="connsiteX75" fmla="*/ 7414333 w 11837227"/>
              <a:gd name="connsiteY75" fmla="*/ 56995 h 6858000"/>
              <a:gd name="connsiteX76" fmla="*/ 7544713 w 11837227"/>
              <a:gd name="connsiteY76" fmla="*/ 169063 h 6858000"/>
              <a:gd name="connsiteX77" fmla="*/ 7454642 w 11837227"/>
              <a:gd name="connsiteY77" fmla="*/ 93267 h 6858000"/>
              <a:gd name="connsiteX78" fmla="*/ 7414333 w 11837227"/>
              <a:gd name="connsiteY78" fmla="*/ 56995 h 6858000"/>
              <a:gd name="connsiteX79" fmla="*/ 8961873 w 11837227"/>
              <a:gd name="connsiteY79" fmla="*/ 19913 h 6858000"/>
              <a:gd name="connsiteX80" fmla="*/ 9025753 w 11837227"/>
              <a:gd name="connsiteY80" fmla="*/ 47084 h 6858000"/>
              <a:gd name="connsiteX81" fmla="*/ 9073123 w 11837227"/>
              <a:gd name="connsiteY81" fmla="*/ 69479 h 6858000"/>
              <a:gd name="connsiteX82" fmla="*/ 8961873 w 11837227"/>
              <a:gd name="connsiteY82" fmla="*/ 19913 h 6858000"/>
              <a:gd name="connsiteX83" fmla="*/ 7348739 w 11837227"/>
              <a:gd name="connsiteY83" fmla="*/ 0 h 6858000"/>
              <a:gd name="connsiteX84" fmla="*/ 7350996 w 11837227"/>
              <a:gd name="connsiteY84" fmla="*/ 0 h 6858000"/>
              <a:gd name="connsiteX85" fmla="*/ 7414333 w 11837227"/>
              <a:gd name="connsiteY85" fmla="*/ 56995 h 6858000"/>
              <a:gd name="connsiteX86" fmla="*/ 7364096 w 11837227"/>
              <a:gd name="connsiteY86" fmla="*/ 13813 h 6858000"/>
              <a:gd name="connsiteX87" fmla="*/ 7348739 w 11837227"/>
              <a:gd name="connsiteY87" fmla="*/ 0 h 6858000"/>
              <a:gd name="connsiteX88" fmla="*/ 1493836 w 11837227"/>
              <a:gd name="connsiteY88" fmla="*/ 0 h 6858000"/>
              <a:gd name="connsiteX89" fmla="*/ 1493841 w 11837227"/>
              <a:gd name="connsiteY89" fmla="*/ 0 h 6858000"/>
              <a:gd name="connsiteX90" fmla="*/ 1318737 w 11837227"/>
              <a:gd name="connsiteY90" fmla="*/ 70646 h 6858000"/>
              <a:gd name="connsiteX91" fmla="*/ 1036321 w 11837227"/>
              <a:gd name="connsiteY91" fmla="*/ 194312 h 6858000"/>
              <a:gd name="connsiteX92" fmla="*/ 130672 w 11837227"/>
              <a:gd name="connsiteY92" fmla="*/ 671514 h 6858000"/>
              <a:gd name="connsiteX93" fmla="*/ 0 w 11837227"/>
              <a:gd name="connsiteY93" fmla="*/ 747683 h 6858000"/>
              <a:gd name="connsiteX94" fmla="*/ 0 w 11837227"/>
              <a:gd name="connsiteY94" fmla="*/ 747682 h 6858000"/>
              <a:gd name="connsiteX95" fmla="*/ 130672 w 11837227"/>
              <a:gd name="connsiteY95" fmla="*/ 671513 h 6858000"/>
              <a:gd name="connsiteX96" fmla="*/ 1036321 w 11837227"/>
              <a:gd name="connsiteY96" fmla="*/ 194310 h 6858000"/>
              <a:gd name="connsiteX97" fmla="*/ 1318737 w 11837227"/>
              <a:gd name="connsiteY97" fmla="*/ 70644 h 6858000"/>
              <a:gd name="connsiteX98" fmla="*/ 1493836 w 11837227"/>
              <a:gd name="connsiteY98" fmla="*/ 0 h 6858000"/>
              <a:gd name="connsiteX0" fmla="*/ 11625258 w 11648080"/>
              <a:gd name="connsiteY0" fmla="*/ 2106063 h 6858000"/>
              <a:gd name="connsiteX1" fmla="*/ 11629346 w 11648080"/>
              <a:gd name="connsiteY1" fmla="*/ 2112520 h 6858000"/>
              <a:gd name="connsiteX2" fmla="*/ 11648080 w 11648080"/>
              <a:gd name="connsiteY2" fmla="*/ 2146495 h 6858000"/>
              <a:gd name="connsiteX3" fmla="*/ 11625258 w 11648080"/>
              <a:gd name="connsiteY3" fmla="*/ 2106063 h 6858000"/>
              <a:gd name="connsiteX4" fmla="*/ 11494204 w 11648080"/>
              <a:gd name="connsiteY4" fmla="*/ 1905523 h 6858000"/>
              <a:gd name="connsiteX5" fmla="*/ 11523841 w 11648080"/>
              <a:gd name="connsiteY5" fmla="*/ 1945872 h 6858000"/>
              <a:gd name="connsiteX6" fmla="*/ 11550310 w 11648080"/>
              <a:gd name="connsiteY6" fmla="*/ 1987681 h 6858000"/>
              <a:gd name="connsiteX7" fmla="*/ 11494204 w 11648080"/>
              <a:gd name="connsiteY7" fmla="*/ 1905523 h 6858000"/>
              <a:gd name="connsiteX8" fmla="*/ 11326061 w 11648080"/>
              <a:gd name="connsiteY8" fmla="*/ 1692532 h 6858000"/>
              <a:gd name="connsiteX9" fmla="*/ 11406282 w 11648080"/>
              <a:gd name="connsiteY9" fmla="*/ 1785822 h 6858000"/>
              <a:gd name="connsiteX10" fmla="*/ 11420409 w 11648080"/>
              <a:gd name="connsiteY10" fmla="*/ 1805055 h 6858000"/>
              <a:gd name="connsiteX11" fmla="*/ 11326061 w 11648080"/>
              <a:gd name="connsiteY11" fmla="*/ 1692532 h 6858000"/>
              <a:gd name="connsiteX12" fmla="*/ 10829453 w 11648080"/>
              <a:gd name="connsiteY12" fmla="*/ 1199865 h 6858000"/>
              <a:gd name="connsiteX13" fmla="*/ 10830227 w 11648080"/>
              <a:gd name="connsiteY13" fmla="*/ 1200518 h 6858000"/>
              <a:gd name="connsiteX14" fmla="*/ 10836860 w 11648080"/>
              <a:gd name="connsiteY14" fmla="*/ 1206669 h 6858000"/>
              <a:gd name="connsiteX15" fmla="*/ 10829453 w 11648080"/>
              <a:gd name="connsiteY15" fmla="*/ 1199865 h 6858000"/>
              <a:gd name="connsiteX16" fmla="*/ 10586019 w 11648080"/>
              <a:gd name="connsiteY16" fmla="*/ 995058 h 6858000"/>
              <a:gd name="connsiteX17" fmla="*/ 10594661 w 11648080"/>
              <a:gd name="connsiteY17" fmla="*/ 1001698 h 6858000"/>
              <a:gd name="connsiteX18" fmla="*/ 10635916 w 11648080"/>
              <a:gd name="connsiteY18" fmla="*/ 1036517 h 6858000"/>
              <a:gd name="connsiteX19" fmla="*/ 10586019 w 11648080"/>
              <a:gd name="connsiteY19" fmla="*/ 995058 h 6858000"/>
              <a:gd name="connsiteX20" fmla="*/ 10333954 w 11648080"/>
              <a:gd name="connsiteY20" fmla="*/ 802539 h 6858000"/>
              <a:gd name="connsiteX21" fmla="*/ 10350933 w 11648080"/>
              <a:gd name="connsiteY21" fmla="*/ 814415 h 6858000"/>
              <a:gd name="connsiteX22" fmla="*/ 10404349 w 11648080"/>
              <a:gd name="connsiteY22" fmla="*/ 855460 h 6858000"/>
              <a:gd name="connsiteX23" fmla="*/ 10333954 w 11648080"/>
              <a:gd name="connsiteY23" fmla="*/ 802539 h 6858000"/>
              <a:gd name="connsiteX24" fmla="*/ 10073757 w 11648080"/>
              <a:gd name="connsiteY24" fmla="*/ 622182 h 6858000"/>
              <a:gd name="connsiteX25" fmla="*/ 10099498 w 11648080"/>
              <a:gd name="connsiteY25" fmla="*/ 638556 h 6858000"/>
              <a:gd name="connsiteX26" fmla="*/ 10157163 w 11648080"/>
              <a:gd name="connsiteY26" fmla="*/ 678888 h 6858000"/>
              <a:gd name="connsiteX27" fmla="*/ 10073757 w 11648080"/>
              <a:gd name="connsiteY27" fmla="*/ 622182 h 6858000"/>
              <a:gd name="connsiteX28" fmla="*/ 9805942 w 11648080"/>
              <a:gd name="connsiteY28" fmla="*/ 453866 h 6858000"/>
              <a:gd name="connsiteX29" fmla="*/ 9840808 w 11648080"/>
              <a:gd name="connsiteY29" fmla="*/ 474006 h 6858000"/>
              <a:gd name="connsiteX30" fmla="*/ 9898785 w 11648080"/>
              <a:gd name="connsiteY30" fmla="*/ 510885 h 6858000"/>
              <a:gd name="connsiteX31" fmla="*/ 9805942 w 11648080"/>
              <a:gd name="connsiteY31" fmla="*/ 453866 h 6858000"/>
              <a:gd name="connsiteX32" fmla="*/ 5416523 w 11648080"/>
              <a:gd name="connsiteY32" fmla="*/ 392344 h 6858000"/>
              <a:gd name="connsiteX33" fmla="*/ 7023101 w 11648080"/>
              <a:gd name="connsiteY33" fmla="*/ 661672 h 6858000"/>
              <a:gd name="connsiteX34" fmla="*/ 9331960 w 11648080"/>
              <a:gd name="connsiteY34" fmla="*/ 2457451 h 6858000"/>
              <a:gd name="connsiteX35" fmla="*/ 10982484 w 11648080"/>
              <a:gd name="connsiteY35" fmla="*/ 4320382 h 6858000"/>
              <a:gd name="connsiteX36" fmla="*/ 11046723 w 11648080"/>
              <a:gd name="connsiteY36" fmla="*/ 4399855 h 6858000"/>
              <a:gd name="connsiteX37" fmla="*/ 10950686 w 11648080"/>
              <a:gd name="connsiteY37" fmla="*/ 4415959 h 6858000"/>
              <a:gd name="connsiteX38" fmla="*/ 9269729 w 11648080"/>
              <a:gd name="connsiteY38" fmla="*/ 5092699 h 6858000"/>
              <a:gd name="connsiteX39" fmla="*/ 8111807 w 11648080"/>
              <a:gd name="connsiteY39" fmla="*/ 6820535 h 6858000"/>
              <a:gd name="connsiteX40" fmla="*/ 8096827 w 11648080"/>
              <a:gd name="connsiteY40" fmla="*/ 6858000 h 6858000"/>
              <a:gd name="connsiteX41" fmla="*/ 0 w 11648080"/>
              <a:gd name="connsiteY41" fmla="*/ 6858000 h 6858000"/>
              <a:gd name="connsiteX42" fmla="*/ 0 w 11648080"/>
              <a:gd name="connsiteY42" fmla="*/ 1312476 h 6858000"/>
              <a:gd name="connsiteX43" fmla="*/ 393384 w 11648080"/>
              <a:gd name="connsiteY43" fmla="*/ 1170010 h 6858000"/>
              <a:gd name="connsiteX44" fmla="*/ 1790701 w 11648080"/>
              <a:gd name="connsiteY44" fmla="*/ 836932 h 6858000"/>
              <a:gd name="connsiteX45" fmla="*/ 5416523 w 11648080"/>
              <a:gd name="connsiteY45" fmla="*/ 392344 h 6858000"/>
              <a:gd name="connsiteX46" fmla="*/ 7788060 w 11648080"/>
              <a:gd name="connsiteY46" fmla="*/ 373174 h 6858000"/>
              <a:gd name="connsiteX47" fmla="*/ 7951989 w 11648080"/>
              <a:gd name="connsiteY47" fmla="*/ 496695 h 6858000"/>
              <a:gd name="connsiteX48" fmla="*/ 8131809 w 11648080"/>
              <a:gd name="connsiteY48" fmla="*/ 618490 h 6858000"/>
              <a:gd name="connsiteX49" fmla="*/ 10486389 w 11648080"/>
              <a:gd name="connsiteY49" fmla="*/ 1795780 h 6858000"/>
              <a:gd name="connsiteX50" fmla="*/ 10759439 w 11648080"/>
              <a:gd name="connsiteY50" fmla="*/ 1939290 h 6858000"/>
              <a:gd name="connsiteX51" fmla="*/ 11288712 w 11648080"/>
              <a:gd name="connsiteY51" fmla="*/ 2224564 h 6858000"/>
              <a:gd name="connsiteX52" fmla="*/ 11288712 w 11648080"/>
              <a:gd name="connsiteY52" fmla="*/ 2224565 h 6858000"/>
              <a:gd name="connsiteX53" fmla="*/ 10759440 w 11648080"/>
              <a:gd name="connsiteY53" fmla="*/ 1939291 h 6858000"/>
              <a:gd name="connsiteX54" fmla="*/ 10486390 w 11648080"/>
              <a:gd name="connsiteY54" fmla="*/ 1795782 h 6858000"/>
              <a:gd name="connsiteX55" fmla="*/ 8131810 w 11648080"/>
              <a:gd name="connsiteY55" fmla="*/ 619761 h 6858000"/>
              <a:gd name="connsiteX56" fmla="*/ 7927023 w 11648080"/>
              <a:gd name="connsiteY56" fmla="*/ 479920 h 6858000"/>
              <a:gd name="connsiteX57" fmla="*/ 7788060 w 11648080"/>
              <a:gd name="connsiteY57" fmla="*/ 373174 h 6858000"/>
              <a:gd name="connsiteX58" fmla="*/ 7778945 w 11648080"/>
              <a:gd name="connsiteY58" fmla="*/ 366172 h 6858000"/>
              <a:gd name="connsiteX59" fmla="*/ 7788060 w 11648080"/>
              <a:gd name="connsiteY59" fmla="*/ 373174 h 6858000"/>
              <a:gd name="connsiteX60" fmla="*/ 7780464 w 11648080"/>
              <a:gd name="connsiteY60" fmla="*/ 367450 h 6858000"/>
              <a:gd name="connsiteX61" fmla="*/ 7778945 w 11648080"/>
              <a:gd name="connsiteY61" fmla="*/ 366172 h 6858000"/>
              <a:gd name="connsiteX62" fmla="*/ 9531011 w 11648080"/>
              <a:gd name="connsiteY62" fmla="*/ 297464 h 6858000"/>
              <a:gd name="connsiteX63" fmla="*/ 9575319 w 11648080"/>
              <a:gd name="connsiteY63" fmla="*/ 320654 h 6858000"/>
              <a:gd name="connsiteX64" fmla="*/ 9631237 w 11648080"/>
              <a:gd name="connsiteY64" fmla="*/ 352953 h 6858000"/>
              <a:gd name="connsiteX65" fmla="*/ 9531011 w 11648080"/>
              <a:gd name="connsiteY65" fmla="*/ 297464 h 6858000"/>
              <a:gd name="connsiteX66" fmla="*/ 7544713 w 11648080"/>
              <a:gd name="connsiteY66" fmla="*/ 169063 h 6858000"/>
              <a:gd name="connsiteX67" fmla="*/ 7778945 w 11648080"/>
              <a:gd name="connsiteY67" fmla="*/ 366172 h 6858000"/>
              <a:gd name="connsiteX68" fmla="*/ 7732713 w 11648080"/>
              <a:gd name="connsiteY68" fmla="*/ 330658 h 6858000"/>
              <a:gd name="connsiteX69" fmla="*/ 7544713 w 11648080"/>
              <a:gd name="connsiteY69" fmla="*/ 169063 h 6858000"/>
              <a:gd name="connsiteX70" fmla="*/ 9249484 w 11648080"/>
              <a:gd name="connsiteY70" fmla="*/ 152855 h 6858000"/>
              <a:gd name="connsiteX71" fmla="*/ 9303483 w 11648080"/>
              <a:gd name="connsiteY71" fmla="*/ 178384 h 6858000"/>
              <a:gd name="connsiteX72" fmla="*/ 9355726 w 11648080"/>
              <a:gd name="connsiteY72" fmla="*/ 205726 h 6858000"/>
              <a:gd name="connsiteX73" fmla="*/ 9249484 w 11648080"/>
              <a:gd name="connsiteY73" fmla="*/ 152855 h 6858000"/>
              <a:gd name="connsiteX74" fmla="*/ 7414333 w 11648080"/>
              <a:gd name="connsiteY74" fmla="*/ 56995 h 6858000"/>
              <a:gd name="connsiteX75" fmla="*/ 7544713 w 11648080"/>
              <a:gd name="connsiteY75" fmla="*/ 169063 h 6858000"/>
              <a:gd name="connsiteX76" fmla="*/ 7454642 w 11648080"/>
              <a:gd name="connsiteY76" fmla="*/ 93267 h 6858000"/>
              <a:gd name="connsiteX77" fmla="*/ 7414333 w 11648080"/>
              <a:gd name="connsiteY77" fmla="*/ 56995 h 6858000"/>
              <a:gd name="connsiteX78" fmla="*/ 8961873 w 11648080"/>
              <a:gd name="connsiteY78" fmla="*/ 19913 h 6858000"/>
              <a:gd name="connsiteX79" fmla="*/ 9025753 w 11648080"/>
              <a:gd name="connsiteY79" fmla="*/ 47084 h 6858000"/>
              <a:gd name="connsiteX80" fmla="*/ 9073123 w 11648080"/>
              <a:gd name="connsiteY80" fmla="*/ 69479 h 6858000"/>
              <a:gd name="connsiteX81" fmla="*/ 8961873 w 11648080"/>
              <a:gd name="connsiteY81" fmla="*/ 19913 h 6858000"/>
              <a:gd name="connsiteX82" fmla="*/ 7348739 w 11648080"/>
              <a:gd name="connsiteY82" fmla="*/ 0 h 6858000"/>
              <a:gd name="connsiteX83" fmla="*/ 7350996 w 11648080"/>
              <a:gd name="connsiteY83" fmla="*/ 0 h 6858000"/>
              <a:gd name="connsiteX84" fmla="*/ 7414333 w 11648080"/>
              <a:gd name="connsiteY84" fmla="*/ 56995 h 6858000"/>
              <a:gd name="connsiteX85" fmla="*/ 7364096 w 11648080"/>
              <a:gd name="connsiteY85" fmla="*/ 13813 h 6858000"/>
              <a:gd name="connsiteX86" fmla="*/ 7348739 w 11648080"/>
              <a:gd name="connsiteY86" fmla="*/ 0 h 6858000"/>
              <a:gd name="connsiteX87" fmla="*/ 1493836 w 11648080"/>
              <a:gd name="connsiteY87" fmla="*/ 0 h 6858000"/>
              <a:gd name="connsiteX88" fmla="*/ 1493841 w 11648080"/>
              <a:gd name="connsiteY88" fmla="*/ 0 h 6858000"/>
              <a:gd name="connsiteX89" fmla="*/ 1318737 w 11648080"/>
              <a:gd name="connsiteY89" fmla="*/ 70646 h 6858000"/>
              <a:gd name="connsiteX90" fmla="*/ 1036321 w 11648080"/>
              <a:gd name="connsiteY90" fmla="*/ 194312 h 6858000"/>
              <a:gd name="connsiteX91" fmla="*/ 130672 w 11648080"/>
              <a:gd name="connsiteY91" fmla="*/ 671514 h 6858000"/>
              <a:gd name="connsiteX92" fmla="*/ 0 w 11648080"/>
              <a:gd name="connsiteY92" fmla="*/ 747683 h 6858000"/>
              <a:gd name="connsiteX93" fmla="*/ 0 w 11648080"/>
              <a:gd name="connsiteY93" fmla="*/ 747682 h 6858000"/>
              <a:gd name="connsiteX94" fmla="*/ 130672 w 11648080"/>
              <a:gd name="connsiteY94" fmla="*/ 671513 h 6858000"/>
              <a:gd name="connsiteX95" fmla="*/ 1036321 w 11648080"/>
              <a:gd name="connsiteY95" fmla="*/ 194310 h 6858000"/>
              <a:gd name="connsiteX96" fmla="*/ 1318737 w 11648080"/>
              <a:gd name="connsiteY96" fmla="*/ 70644 h 6858000"/>
              <a:gd name="connsiteX97" fmla="*/ 1493836 w 11648080"/>
              <a:gd name="connsiteY97" fmla="*/ 0 h 6858000"/>
              <a:gd name="connsiteX0" fmla="*/ 11648080 w 11648080"/>
              <a:gd name="connsiteY0" fmla="*/ 2146495 h 6858000"/>
              <a:gd name="connsiteX1" fmla="*/ 11629346 w 11648080"/>
              <a:gd name="connsiteY1" fmla="*/ 2112520 h 6858000"/>
              <a:gd name="connsiteX2" fmla="*/ 11648080 w 11648080"/>
              <a:gd name="connsiteY2" fmla="*/ 2146495 h 6858000"/>
              <a:gd name="connsiteX3" fmla="*/ 11494204 w 11648080"/>
              <a:gd name="connsiteY3" fmla="*/ 1905523 h 6858000"/>
              <a:gd name="connsiteX4" fmla="*/ 11523841 w 11648080"/>
              <a:gd name="connsiteY4" fmla="*/ 1945872 h 6858000"/>
              <a:gd name="connsiteX5" fmla="*/ 11550310 w 11648080"/>
              <a:gd name="connsiteY5" fmla="*/ 1987681 h 6858000"/>
              <a:gd name="connsiteX6" fmla="*/ 11494204 w 11648080"/>
              <a:gd name="connsiteY6" fmla="*/ 1905523 h 6858000"/>
              <a:gd name="connsiteX7" fmla="*/ 11326061 w 11648080"/>
              <a:gd name="connsiteY7" fmla="*/ 1692532 h 6858000"/>
              <a:gd name="connsiteX8" fmla="*/ 11406282 w 11648080"/>
              <a:gd name="connsiteY8" fmla="*/ 1785822 h 6858000"/>
              <a:gd name="connsiteX9" fmla="*/ 11420409 w 11648080"/>
              <a:gd name="connsiteY9" fmla="*/ 1805055 h 6858000"/>
              <a:gd name="connsiteX10" fmla="*/ 11326061 w 11648080"/>
              <a:gd name="connsiteY10" fmla="*/ 1692532 h 6858000"/>
              <a:gd name="connsiteX11" fmla="*/ 10829453 w 11648080"/>
              <a:gd name="connsiteY11" fmla="*/ 1199865 h 6858000"/>
              <a:gd name="connsiteX12" fmla="*/ 10830227 w 11648080"/>
              <a:gd name="connsiteY12" fmla="*/ 1200518 h 6858000"/>
              <a:gd name="connsiteX13" fmla="*/ 10836860 w 11648080"/>
              <a:gd name="connsiteY13" fmla="*/ 1206669 h 6858000"/>
              <a:gd name="connsiteX14" fmla="*/ 10829453 w 11648080"/>
              <a:gd name="connsiteY14" fmla="*/ 1199865 h 6858000"/>
              <a:gd name="connsiteX15" fmla="*/ 10586019 w 11648080"/>
              <a:gd name="connsiteY15" fmla="*/ 995058 h 6858000"/>
              <a:gd name="connsiteX16" fmla="*/ 10594661 w 11648080"/>
              <a:gd name="connsiteY16" fmla="*/ 1001698 h 6858000"/>
              <a:gd name="connsiteX17" fmla="*/ 10635916 w 11648080"/>
              <a:gd name="connsiteY17" fmla="*/ 1036517 h 6858000"/>
              <a:gd name="connsiteX18" fmla="*/ 10586019 w 11648080"/>
              <a:gd name="connsiteY18" fmla="*/ 995058 h 6858000"/>
              <a:gd name="connsiteX19" fmla="*/ 10333954 w 11648080"/>
              <a:gd name="connsiteY19" fmla="*/ 802539 h 6858000"/>
              <a:gd name="connsiteX20" fmla="*/ 10350933 w 11648080"/>
              <a:gd name="connsiteY20" fmla="*/ 814415 h 6858000"/>
              <a:gd name="connsiteX21" fmla="*/ 10404349 w 11648080"/>
              <a:gd name="connsiteY21" fmla="*/ 855460 h 6858000"/>
              <a:gd name="connsiteX22" fmla="*/ 10333954 w 11648080"/>
              <a:gd name="connsiteY22" fmla="*/ 802539 h 6858000"/>
              <a:gd name="connsiteX23" fmla="*/ 10073757 w 11648080"/>
              <a:gd name="connsiteY23" fmla="*/ 622182 h 6858000"/>
              <a:gd name="connsiteX24" fmla="*/ 10099498 w 11648080"/>
              <a:gd name="connsiteY24" fmla="*/ 638556 h 6858000"/>
              <a:gd name="connsiteX25" fmla="*/ 10157163 w 11648080"/>
              <a:gd name="connsiteY25" fmla="*/ 678888 h 6858000"/>
              <a:gd name="connsiteX26" fmla="*/ 10073757 w 11648080"/>
              <a:gd name="connsiteY26" fmla="*/ 622182 h 6858000"/>
              <a:gd name="connsiteX27" fmla="*/ 9805942 w 11648080"/>
              <a:gd name="connsiteY27" fmla="*/ 453866 h 6858000"/>
              <a:gd name="connsiteX28" fmla="*/ 9840808 w 11648080"/>
              <a:gd name="connsiteY28" fmla="*/ 474006 h 6858000"/>
              <a:gd name="connsiteX29" fmla="*/ 9898785 w 11648080"/>
              <a:gd name="connsiteY29" fmla="*/ 510885 h 6858000"/>
              <a:gd name="connsiteX30" fmla="*/ 9805942 w 11648080"/>
              <a:gd name="connsiteY30" fmla="*/ 453866 h 6858000"/>
              <a:gd name="connsiteX31" fmla="*/ 5416523 w 11648080"/>
              <a:gd name="connsiteY31" fmla="*/ 392344 h 6858000"/>
              <a:gd name="connsiteX32" fmla="*/ 7023101 w 11648080"/>
              <a:gd name="connsiteY32" fmla="*/ 661672 h 6858000"/>
              <a:gd name="connsiteX33" fmla="*/ 9331960 w 11648080"/>
              <a:gd name="connsiteY33" fmla="*/ 2457451 h 6858000"/>
              <a:gd name="connsiteX34" fmla="*/ 10982484 w 11648080"/>
              <a:gd name="connsiteY34" fmla="*/ 4320382 h 6858000"/>
              <a:gd name="connsiteX35" fmla="*/ 11046723 w 11648080"/>
              <a:gd name="connsiteY35" fmla="*/ 4399855 h 6858000"/>
              <a:gd name="connsiteX36" fmla="*/ 10950686 w 11648080"/>
              <a:gd name="connsiteY36" fmla="*/ 4415959 h 6858000"/>
              <a:gd name="connsiteX37" fmla="*/ 9269729 w 11648080"/>
              <a:gd name="connsiteY37" fmla="*/ 5092699 h 6858000"/>
              <a:gd name="connsiteX38" fmla="*/ 8111807 w 11648080"/>
              <a:gd name="connsiteY38" fmla="*/ 6820535 h 6858000"/>
              <a:gd name="connsiteX39" fmla="*/ 8096827 w 11648080"/>
              <a:gd name="connsiteY39" fmla="*/ 6858000 h 6858000"/>
              <a:gd name="connsiteX40" fmla="*/ 0 w 11648080"/>
              <a:gd name="connsiteY40" fmla="*/ 6858000 h 6858000"/>
              <a:gd name="connsiteX41" fmla="*/ 0 w 11648080"/>
              <a:gd name="connsiteY41" fmla="*/ 1312476 h 6858000"/>
              <a:gd name="connsiteX42" fmla="*/ 393384 w 11648080"/>
              <a:gd name="connsiteY42" fmla="*/ 1170010 h 6858000"/>
              <a:gd name="connsiteX43" fmla="*/ 1790701 w 11648080"/>
              <a:gd name="connsiteY43" fmla="*/ 836932 h 6858000"/>
              <a:gd name="connsiteX44" fmla="*/ 5416523 w 11648080"/>
              <a:gd name="connsiteY44" fmla="*/ 392344 h 6858000"/>
              <a:gd name="connsiteX45" fmla="*/ 7788060 w 11648080"/>
              <a:gd name="connsiteY45" fmla="*/ 373174 h 6858000"/>
              <a:gd name="connsiteX46" fmla="*/ 7951989 w 11648080"/>
              <a:gd name="connsiteY46" fmla="*/ 496695 h 6858000"/>
              <a:gd name="connsiteX47" fmla="*/ 8131809 w 11648080"/>
              <a:gd name="connsiteY47" fmla="*/ 618490 h 6858000"/>
              <a:gd name="connsiteX48" fmla="*/ 10486389 w 11648080"/>
              <a:gd name="connsiteY48" fmla="*/ 1795780 h 6858000"/>
              <a:gd name="connsiteX49" fmla="*/ 10759439 w 11648080"/>
              <a:gd name="connsiteY49" fmla="*/ 1939290 h 6858000"/>
              <a:gd name="connsiteX50" fmla="*/ 11288712 w 11648080"/>
              <a:gd name="connsiteY50" fmla="*/ 2224564 h 6858000"/>
              <a:gd name="connsiteX51" fmla="*/ 11288712 w 11648080"/>
              <a:gd name="connsiteY51" fmla="*/ 2224565 h 6858000"/>
              <a:gd name="connsiteX52" fmla="*/ 10759440 w 11648080"/>
              <a:gd name="connsiteY52" fmla="*/ 1939291 h 6858000"/>
              <a:gd name="connsiteX53" fmla="*/ 10486390 w 11648080"/>
              <a:gd name="connsiteY53" fmla="*/ 1795782 h 6858000"/>
              <a:gd name="connsiteX54" fmla="*/ 8131810 w 11648080"/>
              <a:gd name="connsiteY54" fmla="*/ 619761 h 6858000"/>
              <a:gd name="connsiteX55" fmla="*/ 7927023 w 11648080"/>
              <a:gd name="connsiteY55" fmla="*/ 479920 h 6858000"/>
              <a:gd name="connsiteX56" fmla="*/ 7788060 w 11648080"/>
              <a:gd name="connsiteY56" fmla="*/ 373174 h 6858000"/>
              <a:gd name="connsiteX57" fmla="*/ 7778945 w 11648080"/>
              <a:gd name="connsiteY57" fmla="*/ 366172 h 6858000"/>
              <a:gd name="connsiteX58" fmla="*/ 7788060 w 11648080"/>
              <a:gd name="connsiteY58" fmla="*/ 373174 h 6858000"/>
              <a:gd name="connsiteX59" fmla="*/ 7780464 w 11648080"/>
              <a:gd name="connsiteY59" fmla="*/ 367450 h 6858000"/>
              <a:gd name="connsiteX60" fmla="*/ 7778945 w 11648080"/>
              <a:gd name="connsiteY60" fmla="*/ 366172 h 6858000"/>
              <a:gd name="connsiteX61" fmla="*/ 9531011 w 11648080"/>
              <a:gd name="connsiteY61" fmla="*/ 297464 h 6858000"/>
              <a:gd name="connsiteX62" fmla="*/ 9575319 w 11648080"/>
              <a:gd name="connsiteY62" fmla="*/ 320654 h 6858000"/>
              <a:gd name="connsiteX63" fmla="*/ 9631237 w 11648080"/>
              <a:gd name="connsiteY63" fmla="*/ 352953 h 6858000"/>
              <a:gd name="connsiteX64" fmla="*/ 9531011 w 11648080"/>
              <a:gd name="connsiteY64" fmla="*/ 297464 h 6858000"/>
              <a:gd name="connsiteX65" fmla="*/ 7544713 w 11648080"/>
              <a:gd name="connsiteY65" fmla="*/ 169063 h 6858000"/>
              <a:gd name="connsiteX66" fmla="*/ 7778945 w 11648080"/>
              <a:gd name="connsiteY66" fmla="*/ 366172 h 6858000"/>
              <a:gd name="connsiteX67" fmla="*/ 7732713 w 11648080"/>
              <a:gd name="connsiteY67" fmla="*/ 330658 h 6858000"/>
              <a:gd name="connsiteX68" fmla="*/ 7544713 w 11648080"/>
              <a:gd name="connsiteY68" fmla="*/ 169063 h 6858000"/>
              <a:gd name="connsiteX69" fmla="*/ 9249484 w 11648080"/>
              <a:gd name="connsiteY69" fmla="*/ 152855 h 6858000"/>
              <a:gd name="connsiteX70" fmla="*/ 9303483 w 11648080"/>
              <a:gd name="connsiteY70" fmla="*/ 178384 h 6858000"/>
              <a:gd name="connsiteX71" fmla="*/ 9355726 w 11648080"/>
              <a:gd name="connsiteY71" fmla="*/ 205726 h 6858000"/>
              <a:gd name="connsiteX72" fmla="*/ 9249484 w 11648080"/>
              <a:gd name="connsiteY72" fmla="*/ 152855 h 6858000"/>
              <a:gd name="connsiteX73" fmla="*/ 7414333 w 11648080"/>
              <a:gd name="connsiteY73" fmla="*/ 56995 h 6858000"/>
              <a:gd name="connsiteX74" fmla="*/ 7544713 w 11648080"/>
              <a:gd name="connsiteY74" fmla="*/ 169063 h 6858000"/>
              <a:gd name="connsiteX75" fmla="*/ 7454642 w 11648080"/>
              <a:gd name="connsiteY75" fmla="*/ 93267 h 6858000"/>
              <a:gd name="connsiteX76" fmla="*/ 7414333 w 11648080"/>
              <a:gd name="connsiteY76" fmla="*/ 56995 h 6858000"/>
              <a:gd name="connsiteX77" fmla="*/ 8961873 w 11648080"/>
              <a:gd name="connsiteY77" fmla="*/ 19913 h 6858000"/>
              <a:gd name="connsiteX78" fmla="*/ 9025753 w 11648080"/>
              <a:gd name="connsiteY78" fmla="*/ 47084 h 6858000"/>
              <a:gd name="connsiteX79" fmla="*/ 9073123 w 11648080"/>
              <a:gd name="connsiteY79" fmla="*/ 69479 h 6858000"/>
              <a:gd name="connsiteX80" fmla="*/ 8961873 w 11648080"/>
              <a:gd name="connsiteY80" fmla="*/ 19913 h 6858000"/>
              <a:gd name="connsiteX81" fmla="*/ 7348739 w 11648080"/>
              <a:gd name="connsiteY81" fmla="*/ 0 h 6858000"/>
              <a:gd name="connsiteX82" fmla="*/ 7350996 w 11648080"/>
              <a:gd name="connsiteY82" fmla="*/ 0 h 6858000"/>
              <a:gd name="connsiteX83" fmla="*/ 7414333 w 11648080"/>
              <a:gd name="connsiteY83" fmla="*/ 56995 h 6858000"/>
              <a:gd name="connsiteX84" fmla="*/ 7364096 w 11648080"/>
              <a:gd name="connsiteY84" fmla="*/ 13813 h 6858000"/>
              <a:gd name="connsiteX85" fmla="*/ 7348739 w 11648080"/>
              <a:gd name="connsiteY85" fmla="*/ 0 h 6858000"/>
              <a:gd name="connsiteX86" fmla="*/ 1493836 w 11648080"/>
              <a:gd name="connsiteY86" fmla="*/ 0 h 6858000"/>
              <a:gd name="connsiteX87" fmla="*/ 1493841 w 11648080"/>
              <a:gd name="connsiteY87" fmla="*/ 0 h 6858000"/>
              <a:gd name="connsiteX88" fmla="*/ 1318737 w 11648080"/>
              <a:gd name="connsiteY88" fmla="*/ 70646 h 6858000"/>
              <a:gd name="connsiteX89" fmla="*/ 1036321 w 11648080"/>
              <a:gd name="connsiteY89" fmla="*/ 194312 h 6858000"/>
              <a:gd name="connsiteX90" fmla="*/ 130672 w 11648080"/>
              <a:gd name="connsiteY90" fmla="*/ 671514 h 6858000"/>
              <a:gd name="connsiteX91" fmla="*/ 0 w 11648080"/>
              <a:gd name="connsiteY91" fmla="*/ 747683 h 6858000"/>
              <a:gd name="connsiteX92" fmla="*/ 0 w 11648080"/>
              <a:gd name="connsiteY92" fmla="*/ 747682 h 6858000"/>
              <a:gd name="connsiteX93" fmla="*/ 130672 w 11648080"/>
              <a:gd name="connsiteY93" fmla="*/ 671513 h 6858000"/>
              <a:gd name="connsiteX94" fmla="*/ 1036321 w 11648080"/>
              <a:gd name="connsiteY94" fmla="*/ 194310 h 6858000"/>
              <a:gd name="connsiteX95" fmla="*/ 1318737 w 11648080"/>
              <a:gd name="connsiteY95" fmla="*/ 70644 h 6858000"/>
              <a:gd name="connsiteX96" fmla="*/ 1493836 w 11648080"/>
              <a:gd name="connsiteY96" fmla="*/ 0 h 6858000"/>
              <a:gd name="connsiteX0" fmla="*/ 11648080 w 11648080"/>
              <a:gd name="connsiteY0" fmla="*/ 2146495 h 6858000"/>
              <a:gd name="connsiteX1" fmla="*/ 11629346 w 11648080"/>
              <a:gd name="connsiteY1" fmla="*/ 2112520 h 6858000"/>
              <a:gd name="connsiteX2" fmla="*/ 11648080 w 11648080"/>
              <a:gd name="connsiteY2" fmla="*/ 2146495 h 6858000"/>
              <a:gd name="connsiteX3" fmla="*/ 11494204 w 11648080"/>
              <a:gd name="connsiteY3" fmla="*/ 1905523 h 6858000"/>
              <a:gd name="connsiteX4" fmla="*/ 11523841 w 11648080"/>
              <a:gd name="connsiteY4" fmla="*/ 1945872 h 6858000"/>
              <a:gd name="connsiteX5" fmla="*/ 11550310 w 11648080"/>
              <a:gd name="connsiteY5" fmla="*/ 1987681 h 6858000"/>
              <a:gd name="connsiteX6" fmla="*/ 11494204 w 11648080"/>
              <a:gd name="connsiteY6" fmla="*/ 1905523 h 6858000"/>
              <a:gd name="connsiteX7" fmla="*/ 11326061 w 11648080"/>
              <a:gd name="connsiteY7" fmla="*/ 1692532 h 6858000"/>
              <a:gd name="connsiteX8" fmla="*/ 11406282 w 11648080"/>
              <a:gd name="connsiteY8" fmla="*/ 1785822 h 6858000"/>
              <a:gd name="connsiteX9" fmla="*/ 11420409 w 11648080"/>
              <a:gd name="connsiteY9" fmla="*/ 1805055 h 6858000"/>
              <a:gd name="connsiteX10" fmla="*/ 11326061 w 11648080"/>
              <a:gd name="connsiteY10" fmla="*/ 1692532 h 6858000"/>
              <a:gd name="connsiteX11" fmla="*/ 10829453 w 11648080"/>
              <a:gd name="connsiteY11" fmla="*/ 1199865 h 6858000"/>
              <a:gd name="connsiteX12" fmla="*/ 10830227 w 11648080"/>
              <a:gd name="connsiteY12" fmla="*/ 1200518 h 6858000"/>
              <a:gd name="connsiteX13" fmla="*/ 10836860 w 11648080"/>
              <a:gd name="connsiteY13" fmla="*/ 1206669 h 6858000"/>
              <a:gd name="connsiteX14" fmla="*/ 10829453 w 11648080"/>
              <a:gd name="connsiteY14" fmla="*/ 1199865 h 6858000"/>
              <a:gd name="connsiteX15" fmla="*/ 10586019 w 11648080"/>
              <a:gd name="connsiteY15" fmla="*/ 995058 h 6858000"/>
              <a:gd name="connsiteX16" fmla="*/ 10594661 w 11648080"/>
              <a:gd name="connsiteY16" fmla="*/ 1001698 h 6858000"/>
              <a:gd name="connsiteX17" fmla="*/ 10635916 w 11648080"/>
              <a:gd name="connsiteY17" fmla="*/ 1036517 h 6858000"/>
              <a:gd name="connsiteX18" fmla="*/ 10586019 w 11648080"/>
              <a:gd name="connsiteY18" fmla="*/ 995058 h 6858000"/>
              <a:gd name="connsiteX19" fmla="*/ 10333954 w 11648080"/>
              <a:gd name="connsiteY19" fmla="*/ 802539 h 6858000"/>
              <a:gd name="connsiteX20" fmla="*/ 10350933 w 11648080"/>
              <a:gd name="connsiteY20" fmla="*/ 814415 h 6858000"/>
              <a:gd name="connsiteX21" fmla="*/ 10404349 w 11648080"/>
              <a:gd name="connsiteY21" fmla="*/ 855460 h 6858000"/>
              <a:gd name="connsiteX22" fmla="*/ 10333954 w 11648080"/>
              <a:gd name="connsiteY22" fmla="*/ 802539 h 6858000"/>
              <a:gd name="connsiteX23" fmla="*/ 10073757 w 11648080"/>
              <a:gd name="connsiteY23" fmla="*/ 622182 h 6858000"/>
              <a:gd name="connsiteX24" fmla="*/ 10099498 w 11648080"/>
              <a:gd name="connsiteY24" fmla="*/ 638556 h 6858000"/>
              <a:gd name="connsiteX25" fmla="*/ 10157163 w 11648080"/>
              <a:gd name="connsiteY25" fmla="*/ 678888 h 6858000"/>
              <a:gd name="connsiteX26" fmla="*/ 10073757 w 11648080"/>
              <a:gd name="connsiteY26" fmla="*/ 622182 h 6858000"/>
              <a:gd name="connsiteX27" fmla="*/ 9805942 w 11648080"/>
              <a:gd name="connsiteY27" fmla="*/ 453866 h 6858000"/>
              <a:gd name="connsiteX28" fmla="*/ 9840808 w 11648080"/>
              <a:gd name="connsiteY28" fmla="*/ 474006 h 6858000"/>
              <a:gd name="connsiteX29" fmla="*/ 9898785 w 11648080"/>
              <a:gd name="connsiteY29" fmla="*/ 510885 h 6858000"/>
              <a:gd name="connsiteX30" fmla="*/ 9805942 w 11648080"/>
              <a:gd name="connsiteY30" fmla="*/ 453866 h 6858000"/>
              <a:gd name="connsiteX31" fmla="*/ 5416523 w 11648080"/>
              <a:gd name="connsiteY31" fmla="*/ 392344 h 6858000"/>
              <a:gd name="connsiteX32" fmla="*/ 7023101 w 11648080"/>
              <a:gd name="connsiteY32" fmla="*/ 661672 h 6858000"/>
              <a:gd name="connsiteX33" fmla="*/ 9331960 w 11648080"/>
              <a:gd name="connsiteY33" fmla="*/ 2457451 h 6858000"/>
              <a:gd name="connsiteX34" fmla="*/ 10982484 w 11648080"/>
              <a:gd name="connsiteY34" fmla="*/ 4320382 h 6858000"/>
              <a:gd name="connsiteX35" fmla="*/ 11046723 w 11648080"/>
              <a:gd name="connsiteY35" fmla="*/ 4399855 h 6858000"/>
              <a:gd name="connsiteX36" fmla="*/ 10950686 w 11648080"/>
              <a:gd name="connsiteY36" fmla="*/ 4415959 h 6858000"/>
              <a:gd name="connsiteX37" fmla="*/ 9269729 w 11648080"/>
              <a:gd name="connsiteY37" fmla="*/ 5092699 h 6858000"/>
              <a:gd name="connsiteX38" fmla="*/ 8111807 w 11648080"/>
              <a:gd name="connsiteY38" fmla="*/ 6820535 h 6858000"/>
              <a:gd name="connsiteX39" fmla="*/ 8096827 w 11648080"/>
              <a:gd name="connsiteY39" fmla="*/ 6858000 h 6858000"/>
              <a:gd name="connsiteX40" fmla="*/ 0 w 11648080"/>
              <a:gd name="connsiteY40" fmla="*/ 6858000 h 6858000"/>
              <a:gd name="connsiteX41" fmla="*/ 0 w 11648080"/>
              <a:gd name="connsiteY41" fmla="*/ 1312476 h 6858000"/>
              <a:gd name="connsiteX42" fmla="*/ 393384 w 11648080"/>
              <a:gd name="connsiteY42" fmla="*/ 1170010 h 6858000"/>
              <a:gd name="connsiteX43" fmla="*/ 1790701 w 11648080"/>
              <a:gd name="connsiteY43" fmla="*/ 836932 h 6858000"/>
              <a:gd name="connsiteX44" fmla="*/ 5416523 w 11648080"/>
              <a:gd name="connsiteY44" fmla="*/ 392344 h 6858000"/>
              <a:gd name="connsiteX45" fmla="*/ 7788060 w 11648080"/>
              <a:gd name="connsiteY45" fmla="*/ 373174 h 6858000"/>
              <a:gd name="connsiteX46" fmla="*/ 7951989 w 11648080"/>
              <a:gd name="connsiteY46" fmla="*/ 496695 h 6858000"/>
              <a:gd name="connsiteX47" fmla="*/ 8131809 w 11648080"/>
              <a:gd name="connsiteY47" fmla="*/ 618490 h 6858000"/>
              <a:gd name="connsiteX48" fmla="*/ 10486389 w 11648080"/>
              <a:gd name="connsiteY48" fmla="*/ 1795780 h 6858000"/>
              <a:gd name="connsiteX49" fmla="*/ 10759439 w 11648080"/>
              <a:gd name="connsiteY49" fmla="*/ 1939290 h 6858000"/>
              <a:gd name="connsiteX50" fmla="*/ 11288712 w 11648080"/>
              <a:gd name="connsiteY50" fmla="*/ 2224564 h 6858000"/>
              <a:gd name="connsiteX51" fmla="*/ 11288712 w 11648080"/>
              <a:gd name="connsiteY51" fmla="*/ 2224565 h 6858000"/>
              <a:gd name="connsiteX52" fmla="*/ 10759440 w 11648080"/>
              <a:gd name="connsiteY52" fmla="*/ 1939291 h 6858000"/>
              <a:gd name="connsiteX53" fmla="*/ 10486390 w 11648080"/>
              <a:gd name="connsiteY53" fmla="*/ 1795782 h 6858000"/>
              <a:gd name="connsiteX54" fmla="*/ 8131810 w 11648080"/>
              <a:gd name="connsiteY54" fmla="*/ 619761 h 6858000"/>
              <a:gd name="connsiteX55" fmla="*/ 7927023 w 11648080"/>
              <a:gd name="connsiteY55" fmla="*/ 479920 h 6858000"/>
              <a:gd name="connsiteX56" fmla="*/ 7788060 w 11648080"/>
              <a:gd name="connsiteY56" fmla="*/ 373174 h 6858000"/>
              <a:gd name="connsiteX57" fmla="*/ 7778945 w 11648080"/>
              <a:gd name="connsiteY57" fmla="*/ 366172 h 6858000"/>
              <a:gd name="connsiteX58" fmla="*/ 7788060 w 11648080"/>
              <a:gd name="connsiteY58" fmla="*/ 373174 h 6858000"/>
              <a:gd name="connsiteX59" fmla="*/ 7780464 w 11648080"/>
              <a:gd name="connsiteY59" fmla="*/ 367450 h 6858000"/>
              <a:gd name="connsiteX60" fmla="*/ 7778945 w 11648080"/>
              <a:gd name="connsiteY60" fmla="*/ 366172 h 6858000"/>
              <a:gd name="connsiteX61" fmla="*/ 9531011 w 11648080"/>
              <a:gd name="connsiteY61" fmla="*/ 297464 h 6858000"/>
              <a:gd name="connsiteX62" fmla="*/ 9575319 w 11648080"/>
              <a:gd name="connsiteY62" fmla="*/ 320654 h 6858000"/>
              <a:gd name="connsiteX63" fmla="*/ 9631237 w 11648080"/>
              <a:gd name="connsiteY63" fmla="*/ 352953 h 6858000"/>
              <a:gd name="connsiteX64" fmla="*/ 9531011 w 11648080"/>
              <a:gd name="connsiteY64" fmla="*/ 297464 h 6858000"/>
              <a:gd name="connsiteX65" fmla="*/ 7544713 w 11648080"/>
              <a:gd name="connsiteY65" fmla="*/ 169063 h 6858000"/>
              <a:gd name="connsiteX66" fmla="*/ 7778945 w 11648080"/>
              <a:gd name="connsiteY66" fmla="*/ 366172 h 6858000"/>
              <a:gd name="connsiteX67" fmla="*/ 7732713 w 11648080"/>
              <a:gd name="connsiteY67" fmla="*/ 330658 h 6858000"/>
              <a:gd name="connsiteX68" fmla="*/ 7544713 w 11648080"/>
              <a:gd name="connsiteY68" fmla="*/ 169063 h 6858000"/>
              <a:gd name="connsiteX69" fmla="*/ 9249484 w 11648080"/>
              <a:gd name="connsiteY69" fmla="*/ 152855 h 6858000"/>
              <a:gd name="connsiteX70" fmla="*/ 9303483 w 11648080"/>
              <a:gd name="connsiteY70" fmla="*/ 178384 h 6858000"/>
              <a:gd name="connsiteX71" fmla="*/ 9355726 w 11648080"/>
              <a:gd name="connsiteY71" fmla="*/ 205726 h 6858000"/>
              <a:gd name="connsiteX72" fmla="*/ 9249484 w 11648080"/>
              <a:gd name="connsiteY72" fmla="*/ 152855 h 6858000"/>
              <a:gd name="connsiteX73" fmla="*/ 7414333 w 11648080"/>
              <a:gd name="connsiteY73" fmla="*/ 56995 h 6858000"/>
              <a:gd name="connsiteX74" fmla="*/ 7544713 w 11648080"/>
              <a:gd name="connsiteY74" fmla="*/ 169063 h 6858000"/>
              <a:gd name="connsiteX75" fmla="*/ 7454642 w 11648080"/>
              <a:gd name="connsiteY75" fmla="*/ 93267 h 6858000"/>
              <a:gd name="connsiteX76" fmla="*/ 7414333 w 11648080"/>
              <a:gd name="connsiteY76" fmla="*/ 56995 h 6858000"/>
              <a:gd name="connsiteX77" fmla="*/ 9073123 w 11648080"/>
              <a:gd name="connsiteY77" fmla="*/ 69479 h 6858000"/>
              <a:gd name="connsiteX78" fmla="*/ 9025753 w 11648080"/>
              <a:gd name="connsiteY78" fmla="*/ 47084 h 6858000"/>
              <a:gd name="connsiteX79" fmla="*/ 9073123 w 11648080"/>
              <a:gd name="connsiteY79" fmla="*/ 69479 h 6858000"/>
              <a:gd name="connsiteX80" fmla="*/ 7348739 w 11648080"/>
              <a:gd name="connsiteY80" fmla="*/ 0 h 6858000"/>
              <a:gd name="connsiteX81" fmla="*/ 7350996 w 11648080"/>
              <a:gd name="connsiteY81" fmla="*/ 0 h 6858000"/>
              <a:gd name="connsiteX82" fmla="*/ 7414333 w 11648080"/>
              <a:gd name="connsiteY82" fmla="*/ 56995 h 6858000"/>
              <a:gd name="connsiteX83" fmla="*/ 7364096 w 11648080"/>
              <a:gd name="connsiteY83" fmla="*/ 13813 h 6858000"/>
              <a:gd name="connsiteX84" fmla="*/ 7348739 w 11648080"/>
              <a:gd name="connsiteY84" fmla="*/ 0 h 6858000"/>
              <a:gd name="connsiteX85" fmla="*/ 1493836 w 11648080"/>
              <a:gd name="connsiteY85" fmla="*/ 0 h 6858000"/>
              <a:gd name="connsiteX86" fmla="*/ 1493841 w 11648080"/>
              <a:gd name="connsiteY86" fmla="*/ 0 h 6858000"/>
              <a:gd name="connsiteX87" fmla="*/ 1318737 w 11648080"/>
              <a:gd name="connsiteY87" fmla="*/ 70646 h 6858000"/>
              <a:gd name="connsiteX88" fmla="*/ 1036321 w 11648080"/>
              <a:gd name="connsiteY88" fmla="*/ 194312 h 6858000"/>
              <a:gd name="connsiteX89" fmla="*/ 130672 w 11648080"/>
              <a:gd name="connsiteY89" fmla="*/ 671514 h 6858000"/>
              <a:gd name="connsiteX90" fmla="*/ 0 w 11648080"/>
              <a:gd name="connsiteY90" fmla="*/ 747683 h 6858000"/>
              <a:gd name="connsiteX91" fmla="*/ 0 w 11648080"/>
              <a:gd name="connsiteY91" fmla="*/ 747682 h 6858000"/>
              <a:gd name="connsiteX92" fmla="*/ 130672 w 11648080"/>
              <a:gd name="connsiteY92" fmla="*/ 671513 h 6858000"/>
              <a:gd name="connsiteX93" fmla="*/ 1036321 w 11648080"/>
              <a:gd name="connsiteY93" fmla="*/ 194310 h 6858000"/>
              <a:gd name="connsiteX94" fmla="*/ 1318737 w 11648080"/>
              <a:gd name="connsiteY94" fmla="*/ 70644 h 6858000"/>
              <a:gd name="connsiteX95" fmla="*/ 1493836 w 11648080"/>
              <a:gd name="connsiteY95" fmla="*/ 0 h 6858000"/>
              <a:gd name="connsiteX0" fmla="*/ 11648080 w 11648080"/>
              <a:gd name="connsiteY0" fmla="*/ 2146495 h 6858000"/>
              <a:gd name="connsiteX1" fmla="*/ 11629346 w 11648080"/>
              <a:gd name="connsiteY1" fmla="*/ 2112520 h 6858000"/>
              <a:gd name="connsiteX2" fmla="*/ 11648080 w 11648080"/>
              <a:gd name="connsiteY2" fmla="*/ 2146495 h 6858000"/>
              <a:gd name="connsiteX3" fmla="*/ 11494204 w 11648080"/>
              <a:gd name="connsiteY3" fmla="*/ 1905523 h 6858000"/>
              <a:gd name="connsiteX4" fmla="*/ 11523841 w 11648080"/>
              <a:gd name="connsiteY4" fmla="*/ 1945872 h 6858000"/>
              <a:gd name="connsiteX5" fmla="*/ 11550310 w 11648080"/>
              <a:gd name="connsiteY5" fmla="*/ 1987681 h 6858000"/>
              <a:gd name="connsiteX6" fmla="*/ 11494204 w 11648080"/>
              <a:gd name="connsiteY6" fmla="*/ 1905523 h 6858000"/>
              <a:gd name="connsiteX7" fmla="*/ 11326061 w 11648080"/>
              <a:gd name="connsiteY7" fmla="*/ 1692532 h 6858000"/>
              <a:gd name="connsiteX8" fmla="*/ 11406282 w 11648080"/>
              <a:gd name="connsiteY8" fmla="*/ 1785822 h 6858000"/>
              <a:gd name="connsiteX9" fmla="*/ 11420409 w 11648080"/>
              <a:gd name="connsiteY9" fmla="*/ 1805055 h 6858000"/>
              <a:gd name="connsiteX10" fmla="*/ 11326061 w 11648080"/>
              <a:gd name="connsiteY10" fmla="*/ 1692532 h 6858000"/>
              <a:gd name="connsiteX11" fmla="*/ 10829453 w 11648080"/>
              <a:gd name="connsiteY11" fmla="*/ 1199865 h 6858000"/>
              <a:gd name="connsiteX12" fmla="*/ 10830227 w 11648080"/>
              <a:gd name="connsiteY12" fmla="*/ 1200518 h 6858000"/>
              <a:gd name="connsiteX13" fmla="*/ 10836860 w 11648080"/>
              <a:gd name="connsiteY13" fmla="*/ 1206669 h 6858000"/>
              <a:gd name="connsiteX14" fmla="*/ 10829453 w 11648080"/>
              <a:gd name="connsiteY14" fmla="*/ 1199865 h 6858000"/>
              <a:gd name="connsiteX15" fmla="*/ 10586019 w 11648080"/>
              <a:gd name="connsiteY15" fmla="*/ 995058 h 6858000"/>
              <a:gd name="connsiteX16" fmla="*/ 10594661 w 11648080"/>
              <a:gd name="connsiteY16" fmla="*/ 1001698 h 6858000"/>
              <a:gd name="connsiteX17" fmla="*/ 10635916 w 11648080"/>
              <a:gd name="connsiteY17" fmla="*/ 1036517 h 6858000"/>
              <a:gd name="connsiteX18" fmla="*/ 10586019 w 11648080"/>
              <a:gd name="connsiteY18" fmla="*/ 995058 h 6858000"/>
              <a:gd name="connsiteX19" fmla="*/ 10333954 w 11648080"/>
              <a:gd name="connsiteY19" fmla="*/ 802539 h 6858000"/>
              <a:gd name="connsiteX20" fmla="*/ 10350933 w 11648080"/>
              <a:gd name="connsiteY20" fmla="*/ 814415 h 6858000"/>
              <a:gd name="connsiteX21" fmla="*/ 10404349 w 11648080"/>
              <a:gd name="connsiteY21" fmla="*/ 855460 h 6858000"/>
              <a:gd name="connsiteX22" fmla="*/ 10333954 w 11648080"/>
              <a:gd name="connsiteY22" fmla="*/ 802539 h 6858000"/>
              <a:gd name="connsiteX23" fmla="*/ 10073757 w 11648080"/>
              <a:gd name="connsiteY23" fmla="*/ 622182 h 6858000"/>
              <a:gd name="connsiteX24" fmla="*/ 10099498 w 11648080"/>
              <a:gd name="connsiteY24" fmla="*/ 638556 h 6858000"/>
              <a:gd name="connsiteX25" fmla="*/ 10157163 w 11648080"/>
              <a:gd name="connsiteY25" fmla="*/ 678888 h 6858000"/>
              <a:gd name="connsiteX26" fmla="*/ 10073757 w 11648080"/>
              <a:gd name="connsiteY26" fmla="*/ 622182 h 6858000"/>
              <a:gd name="connsiteX27" fmla="*/ 9805942 w 11648080"/>
              <a:gd name="connsiteY27" fmla="*/ 453866 h 6858000"/>
              <a:gd name="connsiteX28" fmla="*/ 9840808 w 11648080"/>
              <a:gd name="connsiteY28" fmla="*/ 474006 h 6858000"/>
              <a:gd name="connsiteX29" fmla="*/ 9898785 w 11648080"/>
              <a:gd name="connsiteY29" fmla="*/ 510885 h 6858000"/>
              <a:gd name="connsiteX30" fmla="*/ 9805942 w 11648080"/>
              <a:gd name="connsiteY30" fmla="*/ 453866 h 6858000"/>
              <a:gd name="connsiteX31" fmla="*/ 5416523 w 11648080"/>
              <a:gd name="connsiteY31" fmla="*/ 392344 h 6858000"/>
              <a:gd name="connsiteX32" fmla="*/ 7023101 w 11648080"/>
              <a:gd name="connsiteY32" fmla="*/ 661672 h 6858000"/>
              <a:gd name="connsiteX33" fmla="*/ 9331960 w 11648080"/>
              <a:gd name="connsiteY33" fmla="*/ 2457451 h 6858000"/>
              <a:gd name="connsiteX34" fmla="*/ 10982484 w 11648080"/>
              <a:gd name="connsiteY34" fmla="*/ 4320382 h 6858000"/>
              <a:gd name="connsiteX35" fmla="*/ 11046723 w 11648080"/>
              <a:gd name="connsiteY35" fmla="*/ 4399855 h 6858000"/>
              <a:gd name="connsiteX36" fmla="*/ 10950686 w 11648080"/>
              <a:gd name="connsiteY36" fmla="*/ 4415959 h 6858000"/>
              <a:gd name="connsiteX37" fmla="*/ 9269729 w 11648080"/>
              <a:gd name="connsiteY37" fmla="*/ 5092699 h 6858000"/>
              <a:gd name="connsiteX38" fmla="*/ 8111807 w 11648080"/>
              <a:gd name="connsiteY38" fmla="*/ 6820535 h 6858000"/>
              <a:gd name="connsiteX39" fmla="*/ 8096827 w 11648080"/>
              <a:gd name="connsiteY39" fmla="*/ 6858000 h 6858000"/>
              <a:gd name="connsiteX40" fmla="*/ 0 w 11648080"/>
              <a:gd name="connsiteY40" fmla="*/ 6858000 h 6858000"/>
              <a:gd name="connsiteX41" fmla="*/ 0 w 11648080"/>
              <a:gd name="connsiteY41" fmla="*/ 1312476 h 6858000"/>
              <a:gd name="connsiteX42" fmla="*/ 393384 w 11648080"/>
              <a:gd name="connsiteY42" fmla="*/ 1170010 h 6858000"/>
              <a:gd name="connsiteX43" fmla="*/ 1790701 w 11648080"/>
              <a:gd name="connsiteY43" fmla="*/ 836932 h 6858000"/>
              <a:gd name="connsiteX44" fmla="*/ 5416523 w 11648080"/>
              <a:gd name="connsiteY44" fmla="*/ 392344 h 6858000"/>
              <a:gd name="connsiteX45" fmla="*/ 7788060 w 11648080"/>
              <a:gd name="connsiteY45" fmla="*/ 373174 h 6858000"/>
              <a:gd name="connsiteX46" fmla="*/ 7951989 w 11648080"/>
              <a:gd name="connsiteY46" fmla="*/ 496695 h 6858000"/>
              <a:gd name="connsiteX47" fmla="*/ 8131809 w 11648080"/>
              <a:gd name="connsiteY47" fmla="*/ 618490 h 6858000"/>
              <a:gd name="connsiteX48" fmla="*/ 10486389 w 11648080"/>
              <a:gd name="connsiteY48" fmla="*/ 1795780 h 6858000"/>
              <a:gd name="connsiteX49" fmla="*/ 10759439 w 11648080"/>
              <a:gd name="connsiteY49" fmla="*/ 1939290 h 6858000"/>
              <a:gd name="connsiteX50" fmla="*/ 11288712 w 11648080"/>
              <a:gd name="connsiteY50" fmla="*/ 2224564 h 6858000"/>
              <a:gd name="connsiteX51" fmla="*/ 11288712 w 11648080"/>
              <a:gd name="connsiteY51" fmla="*/ 2224565 h 6858000"/>
              <a:gd name="connsiteX52" fmla="*/ 10759440 w 11648080"/>
              <a:gd name="connsiteY52" fmla="*/ 1939291 h 6858000"/>
              <a:gd name="connsiteX53" fmla="*/ 10486390 w 11648080"/>
              <a:gd name="connsiteY53" fmla="*/ 1795782 h 6858000"/>
              <a:gd name="connsiteX54" fmla="*/ 8131810 w 11648080"/>
              <a:gd name="connsiteY54" fmla="*/ 619761 h 6858000"/>
              <a:gd name="connsiteX55" fmla="*/ 7927023 w 11648080"/>
              <a:gd name="connsiteY55" fmla="*/ 479920 h 6858000"/>
              <a:gd name="connsiteX56" fmla="*/ 7788060 w 11648080"/>
              <a:gd name="connsiteY56" fmla="*/ 373174 h 6858000"/>
              <a:gd name="connsiteX57" fmla="*/ 7778945 w 11648080"/>
              <a:gd name="connsiteY57" fmla="*/ 366172 h 6858000"/>
              <a:gd name="connsiteX58" fmla="*/ 7788060 w 11648080"/>
              <a:gd name="connsiteY58" fmla="*/ 373174 h 6858000"/>
              <a:gd name="connsiteX59" fmla="*/ 7780464 w 11648080"/>
              <a:gd name="connsiteY59" fmla="*/ 367450 h 6858000"/>
              <a:gd name="connsiteX60" fmla="*/ 7778945 w 11648080"/>
              <a:gd name="connsiteY60" fmla="*/ 366172 h 6858000"/>
              <a:gd name="connsiteX61" fmla="*/ 9531011 w 11648080"/>
              <a:gd name="connsiteY61" fmla="*/ 297464 h 6858000"/>
              <a:gd name="connsiteX62" fmla="*/ 9575319 w 11648080"/>
              <a:gd name="connsiteY62" fmla="*/ 320654 h 6858000"/>
              <a:gd name="connsiteX63" fmla="*/ 9631237 w 11648080"/>
              <a:gd name="connsiteY63" fmla="*/ 352953 h 6858000"/>
              <a:gd name="connsiteX64" fmla="*/ 9531011 w 11648080"/>
              <a:gd name="connsiteY64" fmla="*/ 297464 h 6858000"/>
              <a:gd name="connsiteX65" fmla="*/ 7544713 w 11648080"/>
              <a:gd name="connsiteY65" fmla="*/ 169063 h 6858000"/>
              <a:gd name="connsiteX66" fmla="*/ 7778945 w 11648080"/>
              <a:gd name="connsiteY66" fmla="*/ 366172 h 6858000"/>
              <a:gd name="connsiteX67" fmla="*/ 7732713 w 11648080"/>
              <a:gd name="connsiteY67" fmla="*/ 330658 h 6858000"/>
              <a:gd name="connsiteX68" fmla="*/ 7544713 w 11648080"/>
              <a:gd name="connsiteY68" fmla="*/ 169063 h 6858000"/>
              <a:gd name="connsiteX69" fmla="*/ 9249484 w 11648080"/>
              <a:gd name="connsiteY69" fmla="*/ 152855 h 6858000"/>
              <a:gd name="connsiteX70" fmla="*/ 9303483 w 11648080"/>
              <a:gd name="connsiteY70" fmla="*/ 178384 h 6858000"/>
              <a:gd name="connsiteX71" fmla="*/ 9355726 w 11648080"/>
              <a:gd name="connsiteY71" fmla="*/ 205726 h 6858000"/>
              <a:gd name="connsiteX72" fmla="*/ 9249484 w 11648080"/>
              <a:gd name="connsiteY72" fmla="*/ 152855 h 6858000"/>
              <a:gd name="connsiteX73" fmla="*/ 7414333 w 11648080"/>
              <a:gd name="connsiteY73" fmla="*/ 56995 h 6858000"/>
              <a:gd name="connsiteX74" fmla="*/ 7544713 w 11648080"/>
              <a:gd name="connsiteY74" fmla="*/ 169063 h 6858000"/>
              <a:gd name="connsiteX75" fmla="*/ 7454642 w 11648080"/>
              <a:gd name="connsiteY75" fmla="*/ 93267 h 6858000"/>
              <a:gd name="connsiteX76" fmla="*/ 7414333 w 11648080"/>
              <a:gd name="connsiteY76" fmla="*/ 56995 h 6858000"/>
              <a:gd name="connsiteX77" fmla="*/ 7348739 w 11648080"/>
              <a:gd name="connsiteY77" fmla="*/ 0 h 6858000"/>
              <a:gd name="connsiteX78" fmla="*/ 7350996 w 11648080"/>
              <a:gd name="connsiteY78" fmla="*/ 0 h 6858000"/>
              <a:gd name="connsiteX79" fmla="*/ 7414333 w 11648080"/>
              <a:gd name="connsiteY79" fmla="*/ 56995 h 6858000"/>
              <a:gd name="connsiteX80" fmla="*/ 7364096 w 11648080"/>
              <a:gd name="connsiteY80" fmla="*/ 13813 h 6858000"/>
              <a:gd name="connsiteX81" fmla="*/ 7348739 w 11648080"/>
              <a:gd name="connsiteY81" fmla="*/ 0 h 6858000"/>
              <a:gd name="connsiteX82" fmla="*/ 1493836 w 11648080"/>
              <a:gd name="connsiteY82" fmla="*/ 0 h 6858000"/>
              <a:gd name="connsiteX83" fmla="*/ 1493841 w 11648080"/>
              <a:gd name="connsiteY83" fmla="*/ 0 h 6858000"/>
              <a:gd name="connsiteX84" fmla="*/ 1318737 w 11648080"/>
              <a:gd name="connsiteY84" fmla="*/ 70646 h 6858000"/>
              <a:gd name="connsiteX85" fmla="*/ 1036321 w 11648080"/>
              <a:gd name="connsiteY85" fmla="*/ 194312 h 6858000"/>
              <a:gd name="connsiteX86" fmla="*/ 130672 w 11648080"/>
              <a:gd name="connsiteY86" fmla="*/ 671514 h 6858000"/>
              <a:gd name="connsiteX87" fmla="*/ 0 w 11648080"/>
              <a:gd name="connsiteY87" fmla="*/ 747683 h 6858000"/>
              <a:gd name="connsiteX88" fmla="*/ 0 w 11648080"/>
              <a:gd name="connsiteY88" fmla="*/ 747682 h 6858000"/>
              <a:gd name="connsiteX89" fmla="*/ 130672 w 11648080"/>
              <a:gd name="connsiteY89" fmla="*/ 671513 h 6858000"/>
              <a:gd name="connsiteX90" fmla="*/ 1036321 w 11648080"/>
              <a:gd name="connsiteY90" fmla="*/ 194310 h 6858000"/>
              <a:gd name="connsiteX91" fmla="*/ 1318737 w 11648080"/>
              <a:gd name="connsiteY91" fmla="*/ 70644 h 6858000"/>
              <a:gd name="connsiteX92" fmla="*/ 1493836 w 11648080"/>
              <a:gd name="connsiteY92" fmla="*/ 0 h 6858000"/>
              <a:gd name="connsiteX0" fmla="*/ 11648080 w 11648080"/>
              <a:gd name="connsiteY0" fmla="*/ 2146495 h 6858000"/>
              <a:gd name="connsiteX1" fmla="*/ 11629346 w 11648080"/>
              <a:gd name="connsiteY1" fmla="*/ 2112520 h 6858000"/>
              <a:gd name="connsiteX2" fmla="*/ 11648080 w 11648080"/>
              <a:gd name="connsiteY2" fmla="*/ 2146495 h 6858000"/>
              <a:gd name="connsiteX3" fmla="*/ 11494204 w 11648080"/>
              <a:gd name="connsiteY3" fmla="*/ 1905523 h 6858000"/>
              <a:gd name="connsiteX4" fmla="*/ 11523841 w 11648080"/>
              <a:gd name="connsiteY4" fmla="*/ 1945872 h 6858000"/>
              <a:gd name="connsiteX5" fmla="*/ 11550310 w 11648080"/>
              <a:gd name="connsiteY5" fmla="*/ 1987681 h 6858000"/>
              <a:gd name="connsiteX6" fmla="*/ 11494204 w 11648080"/>
              <a:gd name="connsiteY6" fmla="*/ 1905523 h 6858000"/>
              <a:gd name="connsiteX7" fmla="*/ 11326061 w 11648080"/>
              <a:gd name="connsiteY7" fmla="*/ 1692532 h 6858000"/>
              <a:gd name="connsiteX8" fmla="*/ 11406282 w 11648080"/>
              <a:gd name="connsiteY8" fmla="*/ 1785822 h 6858000"/>
              <a:gd name="connsiteX9" fmla="*/ 11420409 w 11648080"/>
              <a:gd name="connsiteY9" fmla="*/ 1805055 h 6858000"/>
              <a:gd name="connsiteX10" fmla="*/ 11326061 w 11648080"/>
              <a:gd name="connsiteY10" fmla="*/ 1692532 h 6858000"/>
              <a:gd name="connsiteX11" fmla="*/ 10829453 w 11648080"/>
              <a:gd name="connsiteY11" fmla="*/ 1199865 h 6858000"/>
              <a:gd name="connsiteX12" fmla="*/ 10830227 w 11648080"/>
              <a:gd name="connsiteY12" fmla="*/ 1200518 h 6858000"/>
              <a:gd name="connsiteX13" fmla="*/ 10836860 w 11648080"/>
              <a:gd name="connsiteY13" fmla="*/ 1206669 h 6858000"/>
              <a:gd name="connsiteX14" fmla="*/ 10829453 w 11648080"/>
              <a:gd name="connsiteY14" fmla="*/ 1199865 h 6858000"/>
              <a:gd name="connsiteX15" fmla="*/ 10586019 w 11648080"/>
              <a:gd name="connsiteY15" fmla="*/ 995058 h 6858000"/>
              <a:gd name="connsiteX16" fmla="*/ 10594661 w 11648080"/>
              <a:gd name="connsiteY16" fmla="*/ 1001698 h 6858000"/>
              <a:gd name="connsiteX17" fmla="*/ 10635916 w 11648080"/>
              <a:gd name="connsiteY17" fmla="*/ 1036517 h 6858000"/>
              <a:gd name="connsiteX18" fmla="*/ 10586019 w 11648080"/>
              <a:gd name="connsiteY18" fmla="*/ 995058 h 6858000"/>
              <a:gd name="connsiteX19" fmla="*/ 10333954 w 11648080"/>
              <a:gd name="connsiteY19" fmla="*/ 802539 h 6858000"/>
              <a:gd name="connsiteX20" fmla="*/ 10350933 w 11648080"/>
              <a:gd name="connsiteY20" fmla="*/ 814415 h 6858000"/>
              <a:gd name="connsiteX21" fmla="*/ 10404349 w 11648080"/>
              <a:gd name="connsiteY21" fmla="*/ 855460 h 6858000"/>
              <a:gd name="connsiteX22" fmla="*/ 10333954 w 11648080"/>
              <a:gd name="connsiteY22" fmla="*/ 802539 h 6858000"/>
              <a:gd name="connsiteX23" fmla="*/ 10073757 w 11648080"/>
              <a:gd name="connsiteY23" fmla="*/ 622182 h 6858000"/>
              <a:gd name="connsiteX24" fmla="*/ 10099498 w 11648080"/>
              <a:gd name="connsiteY24" fmla="*/ 638556 h 6858000"/>
              <a:gd name="connsiteX25" fmla="*/ 10157163 w 11648080"/>
              <a:gd name="connsiteY25" fmla="*/ 678888 h 6858000"/>
              <a:gd name="connsiteX26" fmla="*/ 10073757 w 11648080"/>
              <a:gd name="connsiteY26" fmla="*/ 622182 h 6858000"/>
              <a:gd name="connsiteX27" fmla="*/ 9805942 w 11648080"/>
              <a:gd name="connsiteY27" fmla="*/ 453866 h 6858000"/>
              <a:gd name="connsiteX28" fmla="*/ 9840808 w 11648080"/>
              <a:gd name="connsiteY28" fmla="*/ 474006 h 6858000"/>
              <a:gd name="connsiteX29" fmla="*/ 9898785 w 11648080"/>
              <a:gd name="connsiteY29" fmla="*/ 510885 h 6858000"/>
              <a:gd name="connsiteX30" fmla="*/ 9805942 w 11648080"/>
              <a:gd name="connsiteY30" fmla="*/ 453866 h 6858000"/>
              <a:gd name="connsiteX31" fmla="*/ 5416523 w 11648080"/>
              <a:gd name="connsiteY31" fmla="*/ 392344 h 6858000"/>
              <a:gd name="connsiteX32" fmla="*/ 7023101 w 11648080"/>
              <a:gd name="connsiteY32" fmla="*/ 661672 h 6858000"/>
              <a:gd name="connsiteX33" fmla="*/ 9331960 w 11648080"/>
              <a:gd name="connsiteY33" fmla="*/ 2457451 h 6858000"/>
              <a:gd name="connsiteX34" fmla="*/ 10982484 w 11648080"/>
              <a:gd name="connsiteY34" fmla="*/ 4320382 h 6858000"/>
              <a:gd name="connsiteX35" fmla="*/ 11046723 w 11648080"/>
              <a:gd name="connsiteY35" fmla="*/ 4399855 h 6858000"/>
              <a:gd name="connsiteX36" fmla="*/ 10950686 w 11648080"/>
              <a:gd name="connsiteY36" fmla="*/ 4415959 h 6858000"/>
              <a:gd name="connsiteX37" fmla="*/ 9269729 w 11648080"/>
              <a:gd name="connsiteY37" fmla="*/ 5092699 h 6858000"/>
              <a:gd name="connsiteX38" fmla="*/ 8111807 w 11648080"/>
              <a:gd name="connsiteY38" fmla="*/ 6820535 h 6858000"/>
              <a:gd name="connsiteX39" fmla="*/ 8096827 w 11648080"/>
              <a:gd name="connsiteY39" fmla="*/ 6858000 h 6858000"/>
              <a:gd name="connsiteX40" fmla="*/ 0 w 11648080"/>
              <a:gd name="connsiteY40" fmla="*/ 6858000 h 6858000"/>
              <a:gd name="connsiteX41" fmla="*/ 0 w 11648080"/>
              <a:gd name="connsiteY41" fmla="*/ 1312476 h 6858000"/>
              <a:gd name="connsiteX42" fmla="*/ 393384 w 11648080"/>
              <a:gd name="connsiteY42" fmla="*/ 1170010 h 6858000"/>
              <a:gd name="connsiteX43" fmla="*/ 1790701 w 11648080"/>
              <a:gd name="connsiteY43" fmla="*/ 836932 h 6858000"/>
              <a:gd name="connsiteX44" fmla="*/ 5416523 w 11648080"/>
              <a:gd name="connsiteY44" fmla="*/ 392344 h 6858000"/>
              <a:gd name="connsiteX45" fmla="*/ 7788060 w 11648080"/>
              <a:gd name="connsiteY45" fmla="*/ 373174 h 6858000"/>
              <a:gd name="connsiteX46" fmla="*/ 7951989 w 11648080"/>
              <a:gd name="connsiteY46" fmla="*/ 496695 h 6858000"/>
              <a:gd name="connsiteX47" fmla="*/ 8131809 w 11648080"/>
              <a:gd name="connsiteY47" fmla="*/ 618490 h 6858000"/>
              <a:gd name="connsiteX48" fmla="*/ 10486389 w 11648080"/>
              <a:gd name="connsiteY48" fmla="*/ 1795780 h 6858000"/>
              <a:gd name="connsiteX49" fmla="*/ 10759439 w 11648080"/>
              <a:gd name="connsiteY49" fmla="*/ 1939290 h 6858000"/>
              <a:gd name="connsiteX50" fmla="*/ 11288712 w 11648080"/>
              <a:gd name="connsiteY50" fmla="*/ 2224564 h 6858000"/>
              <a:gd name="connsiteX51" fmla="*/ 11288712 w 11648080"/>
              <a:gd name="connsiteY51" fmla="*/ 2224565 h 6858000"/>
              <a:gd name="connsiteX52" fmla="*/ 10759440 w 11648080"/>
              <a:gd name="connsiteY52" fmla="*/ 1939291 h 6858000"/>
              <a:gd name="connsiteX53" fmla="*/ 10486390 w 11648080"/>
              <a:gd name="connsiteY53" fmla="*/ 1795782 h 6858000"/>
              <a:gd name="connsiteX54" fmla="*/ 8131810 w 11648080"/>
              <a:gd name="connsiteY54" fmla="*/ 619761 h 6858000"/>
              <a:gd name="connsiteX55" fmla="*/ 7927023 w 11648080"/>
              <a:gd name="connsiteY55" fmla="*/ 479920 h 6858000"/>
              <a:gd name="connsiteX56" fmla="*/ 7788060 w 11648080"/>
              <a:gd name="connsiteY56" fmla="*/ 373174 h 6858000"/>
              <a:gd name="connsiteX57" fmla="*/ 7778945 w 11648080"/>
              <a:gd name="connsiteY57" fmla="*/ 366172 h 6858000"/>
              <a:gd name="connsiteX58" fmla="*/ 7788060 w 11648080"/>
              <a:gd name="connsiteY58" fmla="*/ 373174 h 6858000"/>
              <a:gd name="connsiteX59" fmla="*/ 7780464 w 11648080"/>
              <a:gd name="connsiteY59" fmla="*/ 367450 h 6858000"/>
              <a:gd name="connsiteX60" fmla="*/ 7778945 w 11648080"/>
              <a:gd name="connsiteY60" fmla="*/ 366172 h 6858000"/>
              <a:gd name="connsiteX61" fmla="*/ 9531011 w 11648080"/>
              <a:gd name="connsiteY61" fmla="*/ 297464 h 6858000"/>
              <a:gd name="connsiteX62" fmla="*/ 9575319 w 11648080"/>
              <a:gd name="connsiteY62" fmla="*/ 320654 h 6858000"/>
              <a:gd name="connsiteX63" fmla="*/ 9631237 w 11648080"/>
              <a:gd name="connsiteY63" fmla="*/ 352953 h 6858000"/>
              <a:gd name="connsiteX64" fmla="*/ 9531011 w 11648080"/>
              <a:gd name="connsiteY64" fmla="*/ 297464 h 6858000"/>
              <a:gd name="connsiteX65" fmla="*/ 7544713 w 11648080"/>
              <a:gd name="connsiteY65" fmla="*/ 169063 h 6858000"/>
              <a:gd name="connsiteX66" fmla="*/ 7778945 w 11648080"/>
              <a:gd name="connsiteY66" fmla="*/ 366172 h 6858000"/>
              <a:gd name="connsiteX67" fmla="*/ 7732713 w 11648080"/>
              <a:gd name="connsiteY67" fmla="*/ 330658 h 6858000"/>
              <a:gd name="connsiteX68" fmla="*/ 7544713 w 11648080"/>
              <a:gd name="connsiteY68" fmla="*/ 169063 h 6858000"/>
              <a:gd name="connsiteX69" fmla="*/ 9355726 w 11648080"/>
              <a:gd name="connsiteY69" fmla="*/ 205726 h 6858000"/>
              <a:gd name="connsiteX70" fmla="*/ 9303483 w 11648080"/>
              <a:gd name="connsiteY70" fmla="*/ 178384 h 6858000"/>
              <a:gd name="connsiteX71" fmla="*/ 9355726 w 11648080"/>
              <a:gd name="connsiteY71" fmla="*/ 205726 h 6858000"/>
              <a:gd name="connsiteX72" fmla="*/ 7414333 w 11648080"/>
              <a:gd name="connsiteY72" fmla="*/ 56995 h 6858000"/>
              <a:gd name="connsiteX73" fmla="*/ 7544713 w 11648080"/>
              <a:gd name="connsiteY73" fmla="*/ 169063 h 6858000"/>
              <a:gd name="connsiteX74" fmla="*/ 7454642 w 11648080"/>
              <a:gd name="connsiteY74" fmla="*/ 93267 h 6858000"/>
              <a:gd name="connsiteX75" fmla="*/ 7414333 w 11648080"/>
              <a:gd name="connsiteY75" fmla="*/ 56995 h 6858000"/>
              <a:gd name="connsiteX76" fmla="*/ 7348739 w 11648080"/>
              <a:gd name="connsiteY76" fmla="*/ 0 h 6858000"/>
              <a:gd name="connsiteX77" fmla="*/ 7350996 w 11648080"/>
              <a:gd name="connsiteY77" fmla="*/ 0 h 6858000"/>
              <a:gd name="connsiteX78" fmla="*/ 7414333 w 11648080"/>
              <a:gd name="connsiteY78" fmla="*/ 56995 h 6858000"/>
              <a:gd name="connsiteX79" fmla="*/ 7364096 w 11648080"/>
              <a:gd name="connsiteY79" fmla="*/ 13813 h 6858000"/>
              <a:gd name="connsiteX80" fmla="*/ 7348739 w 11648080"/>
              <a:gd name="connsiteY80" fmla="*/ 0 h 6858000"/>
              <a:gd name="connsiteX81" fmla="*/ 1493836 w 11648080"/>
              <a:gd name="connsiteY81" fmla="*/ 0 h 6858000"/>
              <a:gd name="connsiteX82" fmla="*/ 1493841 w 11648080"/>
              <a:gd name="connsiteY82" fmla="*/ 0 h 6858000"/>
              <a:gd name="connsiteX83" fmla="*/ 1318737 w 11648080"/>
              <a:gd name="connsiteY83" fmla="*/ 70646 h 6858000"/>
              <a:gd name="connsiteX84" fmla="*/ 1036321 w 11648080"/>
              <a:gd name="connsiteY84" fmla="*/ 194312 h 6858000"/>
              <a:gd name="connsiteX85" fmla="*/ 130672 w 11648080"/>
              <a:gd name="connsiteY85" fmla="*/ 671514 h 6858000"/>
              <a:gd name="connsiteX86" fmla="*/ 0 w 11648080"/>
              <a:gd name="connsiteY86" fmla="*/ 747683 h 6858000"/>
              <a:gd name="connsiteX87" fmla="*/ 0 w 11648080"/>
              <a:gd name="connsiteY87" fmla="*/ 747682 h 6858000"/>
              <a:gd name="connsiteX88" fmla="*/ 130672 w 11648080"/>
              <a:gd name="connsiteY88" fmla="*/ 671513 h 6858000"/>
              <a:gd name="connsiteX89" fmla="*/ 1036321 w 11648080"/>
              <a:gd name="connsiteY89" fmla="*/ 194310 h 6858000"/>
              <a:gd name="connsiteX90" fmla="*/ 1318737 w 11648080"/>
              <a:gd name="connsiteY90" fmla="*/ 70644 h 6858000"/>
              <a:gd name="connsiteX91" fmla="*/ 1493836 w 11648080"/>
              <a:gd name="connsiteY91" fmla="*/ 0 h 6858000"/>
              <a:gd name="connsiteX0" fmla="*/ 11648080 w 11648080"/>
              <a:gd name="connsiteY0" fmla="*/ 2146495 h 6858000"/>
              <a:gd name="connsiteX1" fmla="*/ 11629346 w 11648080"/>
              <a:gd name="connsiteY1" fmla="*/ 2112520 h 6858000"/>
              <a:gd name="connsiteX2" fmla="*/ 11648080 w 11648080"/>
              <a:gd name="connsiteY2" fmla="*/ 2146495 h 6858000"/>
              <a:gd name="connsiteX3" fmla="*/ 11494204 w 11648080"/>
              <a:gd name="connsiteY3" fmla="*/ 1905523 h 6858000"/>
              <a:gd name="connsiteX4" fmla="*/ 11523841 w 11648080"/>
              <a:gd name="connsiteY4" fmla="*/ 1945872 h 6858000"/>
              <a:gd name="connsiteX5" fmla="*/ 11550310 w 11648080"/>
              <a:gd name="connsiteY5" fmla="*/ 1987681 h 6858000"/>
              <a:gd name="connsiteX6" fmla="*/ 11494204 w 11648080"/>
              <a:gd name="connsiteY6" fmla="*/ 1905523 h 6858000"/>
              <a:gd name="connsiteX7" fmla="*/ 11326061 w 11648080"/>
              <a:gd name="connsiteY7" fmla="*/ 1692532 h 6858000"/>
              <a:gd name="connsiteX8" fmla="*/ 11406282 w 11648080"/>
              <a:gd name="connsiteY8" fmla="*/ 1785822 h 6858000"/>
              <a:gd name="connsiteX9" fmla="*/ 11420409 w 11648080"/>
              <a:gd name="connsiteY9" fmla="*/ 1805055 h 6858000"/>
              <a:gd name="connsiteX10" fmla="*/ 11326061 w 11648080"/>
              <a:gd name="connsiteY10" fmla="*/ 1692532 h 6858000"/>
              <a:gd name="connsiteX11" fmla="*/ 10829453 w 11648080"/>
              <a:gd name="connsiteY11" fmla="*/ 1199865 h 6858000"/>
              <a:gd name="connsiteX12" fmla="*/ 10830227 w 11648080"/>
              <a:gd name="connsiteY12" fmla="*/ 1200518 h 6858000"/>
              <a:gd name="connsiteX13" fmla="*/ 10836860 w 11648080"/>
              <a:gd name="connsiteY13" fmla="*/ 1206669 h 6858000"/>
              <a:gd name="connsiteX14" fmla="*/ 10829453 w 11648080"/>
              <a:gd name="connsiteY14" fmla="*/ 1199865 h 6858000"/>
              <a:gd name="connsiteX15" fmla="*/ 10586019 w 11648080"/>
              <a:gd name="connsiteY15" fmla="*/ 995058 h 6858000"/>
              <a:gd name="connsiteX16" fmla="*/ 10594661 w 11648080"/>
              <a:gd name="connsiteY16" fmla="*/ 1001698 h 6858000"/>
              <a:gd name="connsiteX17" fmla="*/ 10635916 w 11648080"/>
              <a:gd name="connsiteY17" fmla="*/ 1036517 h 6858000"/>
              <a:gd name="connsiteX18" fmla="*/ 10586019 w 11648080"/>
              <a:gd name="connsiteY18" fmla="*/ 995058 h 6858000"/>
              <a:gd name="connsiteX19" fmla="*/ 10333954 w 11648080"/>
              <a:gd name="connsiteY19" fmla="*/ 802539 h 6858000"/>
              <a:gd name="connsiteX20" fmla="*/ 10350933 w 11648080"/>
              <a:gd name="connsiteY20" fmla="*/ 814415 h 6858000"/>
              <a:gd name="connsiteX21" fmla="*/ 10404349 w 11648080"/>
              <a:gd name="connsiteY21" fmla="*/ 855460 h 6858000"/>
              <a:gd name="connsiteX22" fmla="*/ 10333954 w 11648080"/>
              <a:gd name="connsiteY22" fmla="*/ 802539 h 6858000"/>
              <a:gd name="connsiteX23" fmla="*/ 10073757 w 11648080"/>
              <a:gd name="connsiteY23" fmla="*/ 622182 h 6858000"/>
              <a:gd name="connsiteX24" fmla="*/ 10099498 w 11648080"/>
              <a:gd name="connsiteY24" fmla="*/ 638556 h 6858000"/>
              <a:gd name="connsiteX25" fmla="*/ 10157163 w 11648080"/>
              <a:gd name="connsiteY25" fmla="*/ 678888 h 6858000"/>
              <a:gd name="connsiteX26" fmla="*/ 10073757 w 11648080"/>
              <a:gd name="connsiteY26" fmla="*/ 622182 h 6858000"/>
              <a:gd name="connsiteX27" fmla="*/ 9805942 w 11648080"/>
              <a:gd name="connsiteY27" fmla="*/ 453866 h 6858000"/>
              <a:gd name="connsiteX28" fmla="*/ 9840808 w 11648080"/>
              <a:gd name="connsiteY28" fmla="*/ 474006 h 6858000"/>
              <a:gd name="connsiteX29" fmla="*/ 9898785 w 11648080"/>
              <a:gd name="connsiteY29" fmla="*/ 510885 h 6858000"/>
              <a:gd name="connsiteX30" fmla="*/ 9805942 w 11648080"/>
              <a:gd name="connsiteY30" fmla="*/ 453866 h 6858000"/>
              <a:gd name="connsiteX31" fmla="*/ 5416523 w 11648080"/>
              <a:gd name="connsiteY31" fmla="*/ 392344 h 6858000"/>
              <a:gd name="connsiteX32" fmla="*/ 7023101 w 11648080"/>
              <a:gd name="connsiteY32" fmla="*/ 661672 h 6858000"/>
              <a:gd name="connsiteX33" fmla="*/ 9331960 w 11648080"/>
              <a:gd name="connsiteY33" fmla="*/ 2457451 h 6858000"/>
              <a:gd name="connsiteX34" fmla="*/ 10982484 w 11648080"/>
              <a:gd name="connsiteY34" fmla="*/ 4320382 h 6858000"/>
              <a:gd name="connsiteX35" fmla="*/ 11046723 w 11648080"/>
              <a:gd name="connsiteY35" fmla="*/ 4399855 h 6858000"/>
              <a:gd name="connsiteX36" fmla="*/ 10950686 w 11648080"/>
              <a:gd name="connsiteY36" fmla="*/ 4415959 h 6858000"/>
              <a:gd name="connsiteX37" fmla="*/ 9269729 w 11648080"/>
              <a:gd name="connsiteY37" fmla="*/ 5092699 h 6858000"/>
              <a:gd name="connsiteX38" fmla="*/ 8111807 w 11648080"/>
              <a:gd name="connsiteY38" fmla="*/ 6820535 h 6858000"/>
              <a:gd name="connsiteX39" fmla="*/ 8096827 w 11648080"/>
              <a:gd name="connsiteY39" fmla="*/ 6858000 h 6858000"/>
              <a:gd name="connsiteX40" fmla="*/ 0 w 11648080"/>
              <a:gd name="connsiteY40" fmla="*/ 6858000 h 6858000"/>
              <a:gd name="connsiteX41" fmla="*/ 0 w 11648080"/>
              <a:gd name="connsiteY41" fmla="*/ 1312476 h 6858000"/>
              <a:gd name="connsiteX42" fmla="*/ 393384 w 11648080"/>
              <a:gd name="connsiteY42" fmla="*/ 1170010 h 6858000"/>
              <a:gd name="connsiteX43" fmla="*/ 1790701 w 11648080"/>
              <a:gd name="connsiteY43" fmla="*/ 836932 h 6858000"/>
              <a:gd name="connsiteX44" fmla="*/ 5416523 w 11648080"/>
              <a:gd name="connsiteY44" fmla="*/ 392344 h 6858000"/>
              <a:gd name="connsiteX45" fmla="*/ 7788060 w 11648080"/>
              <a:gd name="connsiteY45" fmla="*/ 373174 h 6858000"/>
              <a:gd name="connsiteX46" fmla="*/ 7951989 w 11648080"/>
              <a:gd name="connsiteY46" fmla="*/ 496695 h 6858000"/>
              <a:gd name="connsiteX47" fmla="*/ 8131809 w 11648080"/>
              <a:gd name="connsiteY47" fmla="*/ 618490 h 6858000"/>
              <a:gd name="connsiteX48" fmla="*/ 10486389 w 11648080"/>
              <a:gd name="connsiteY48" fmla="*/ 1795780 h 6858000"/>
              <a:gd name="connsiteX49" fmla="*/ 10759439 w 11648080"/>
              <a:gd name="connsiteY49" fmla="*/ 1939290 h 6858000"/>
              <a:gd name="connsiteX50" fmla="*/ 11288712 w 11648080"/>
              <a:gd name="connsiteY50" fmla="*/ 2224564 h 6858000"/>
              <a:gd name="connsiteX51" fmla="*/ 11288712 w 11648080"/>
              <a:gd name="connsiteY51" fmla="*/ 2224565 h 6858000"/>
              <a:gd name="connsiteX52" fmla="*/ 10759440 w 11648080"/>
              <a:gd name="connsiteY52" fmla="*/ 1939291 h 6858000"/>
              <a:gd name="connsiteX53" fmla="*/ 10486390 w 11648080"/>
              <a:gd name="connsiteY53" fmla="*/ 1795782 h 6858000"/>
              <a:gd name="connsiteX54" fmla="*/ 8131810 w 11648080"/>
              <a:gd name="connsiteY54" fmla="*/ 619761 h 6858000"/>
              <a:gd name="connsiteX55" fmla="*/ 7927023 w 11648080"/>
              <a:gd name="connsiteY55" fmla="*/ 479920 h 6858000"/>
              <a:gd name="connsiteX56" fmla="*/ 7788060 w 11648080"/>
              <a:gd name="connsiteY56" fmla="*/ 373174 h 6858000"/>
              <a:gd name="connsiteX57" fmla="*/ 7778945 w 11648080"/>
              <a:gd name="connsiteY57" fmla="*/ 366172 h 6858000"/>
              <a:gd name="connsiteX58" fmla="*/ 7788060 w 11648080"/>
              <a:gd name="connsiteY58" fmla="*/ 373174 h 6858000"/>
              <a:gd name="connsiteX59" fmla="*/ 7780464 w 11648080"/>
              <a:gd name="connsiteY59" fmla="*/ 367450 h 6858000"/>
              <a:gd name="connsiteX60" fmla="*/ 7778945 w 11648080"/>
              <a:gd name="connsiteY60" fmla="*/ 366172 h 6858000"/>
              <a:gd name="connsiteX61" fmla="*/ 9531011 w 11648080"/>
              <a:gd name="connsiteY61" fmla="*/ 297464 h 6858000"/>
              <a:gd name="connsiteX62" fmla="*/ 9575319 w 11648080"/>
              <a:gd name="connsiteY62" fmla="*/ 320654 h 6858000"/>
              <a:gd name="connsiteX63" fmla="*/ 9631237 w 11648080"/>
              <a:gd name="connsiteY63" fmla="*/ 352953 h 6858000"/>
              <a:gd name="connsiteX64" fmla="*/ 9531011 w 11648080"/>
              <a:gd name="connsiteY64" fmla="*/ 297464 h 6858000"/>
              <a:gd name="connsiteX65" fmla="*/ 7544713 w 11648080"/>
              <a:gd name="connsiteY65" fmla="*/ 169063 h 6858000"/>
              <a:gd name="connsiteX66" fmla="*/ 7778945 w 11648080"/>
              <a:gd name="connsiteY66" fmla="*/ 366172 h 6858000"/>
              <a:gd name="connsiteX67" fmla="*/ 7732713 w 11648080"/>
              <a:gd name="connsiteY67" fmla="*/ 330658 h 6858000"/>
              <a:gd name="connsiteX68" fmla="*/ 7544713 w 11648080"/>
              <a:gd name="connsiteY68" fmla="*/ 169063 h 6858000"/>
              <a:gd name="connsiteX69" fmla="*/ 7414333 w 11648080"/>
              <a:gd name="connsiteY69" fmla="*/ 56995 h 6858000"/>
              <a:gd name="connsiteX70" fmla="*/ 7544713 w 11648080"/>
              <a:gd name="connsiteY70" fmla="*/ 169063 h 6858000"/>
              <a:gd name="connsiteX71" fmla="*/ 7454642 w 11648080"/>
              <a:gd name="connsiteY71" fmla="*/ 93267 h 6858000"/>
              <a:gd name="connsiteX72" fmla="*/ 7414333 w 11648080"/>
              <a:gd name="connsiteY72" fmla="*/ 56995 h 6858000"/>
              <a:gd name="connsiteX73" fmla="*/ 7348739 w 11648080"/>
              <a:gd name="connsiteY73" fmla="*/ 0 h 6858000"/>
              <a:gd name="connsiteX74" fmla="*/ 7350996 w 11648080"/>
              <a:gd name="connsiteY74" fmla="*/ 0 h 6858000"/>
              <a:gd name="connsiteX75" fmla="*/ 7414333 w 11648080"/>
              <a:gd name="connsiteY75" fmla="*/ 56995 h 6858000"/>
              <a:gd name="connsiteX76" fmla="*/ 7364096 w 11648080"/>
              <a:gd name="connsiteY76" fmla="*/ 13813 h 6858000"/>
              <a:gd name="connsiteX77" fmla="*/ 7348739 w 11648080"/>
              <a:gd name="connsiteY77" fmla="*/ 0 h 6858000"/>
              <a:gd name="connsiteX78" fmla="*/ 1493836 w 11648080"/>
              <a:gd name="connsiteY78" fmla="*/ 0 h 6858000"/>
              <a:gd name="connsiteX79" fmla="*/ 1493841 w 11648080"/>
              <a:gd name="connsiteY79" fmla="*/ 0 h 6858000"/>
              <a:gd name="connsiteX80" fmla="*/ 1318737 w 11648080"/>
              <a:gd name="connsiteY80" fmla="*/ 70646 h 6858000"/>
              <a:gd name="connsiteX81" fmla="*/ 1036321 w 11648080"/>
              <a:gd name="connsiteY81" fmla="*/ 194312 h 6858000"/>
              <a:gd name="connsiteX82" fmla="*/ 130672 w 11648080"/>
              <a:gd name="connsiteY82" fmla="*/ 671514 h 6858000"/>
              <a:gd name="connsiteX83" fmla="*/ 0 w 11648080"/>
              <a:gd name="connsiteY83" fmla="*/ 747683 h 6858000"/>
              <a:gd name="connsiteX84" fmla="*/ 0 w 11648080"/>
              <a:gd name="connsiteY84" fmla="*/ 747682 h 6858000"/>
              <a:gd name="connsiteX85" fmla="*/ 130672 w 11648080"/>
              <a:gd name="connsiteY85" fmla="*/ 671513 h 6858000"/>
              <a:gd name="connsiteX86" fmla="*/ 1036321 w 11648080"/>
              <a:gd name="connsiteY86" fmla="*/ 194310 h 6858000"/>
              <a:gd name="connsiteX87" fmla="*/ 1318737 w 11648080"/>
              <a:gd name="connsiteY87" fmla="*/ 70644 h 6858000"/>
              <a:gd name="connsiteX88" fmla="*/ 1493836 w 11648080"/>
              <a:gd name="connsiteY88" fmla="*/ 0 h 6858000"/>
              <a:gd name="connsiteX0" fmla="*/ 11648080 w 11648080"/>
              <a:gd name="connsiteY0" fmla="*/ 2146495 h 6858000"/>
              <a:gd name="connsiteX1" fmla="*/ 11629346 w 11648080"/>
              <a:gd name="connsiteY1" fmla="*/ 2112520 h 6858000"/>
              <a:gd name="connsiteX2" fmla="*/ 11648080 w 11648080"/>
              <a:gd name="connsiteY2" fmla="*/ 2146495 h 6858000"/>
              <a:gd name="connsiteX3" fmla="*/ 11494204 w 11648080"/>
              <a:gd name="connsiteY3" fmla="*/ 1905523 h 6858000"/>
              <a:gd name="connsiteX4" fmla="*/ 11523841 w 11648080"/>
              <a:gd name="connsiteY4" fmla="*/ 1945872 h 6858000"/>
              <a:gd name="connsiteX5" fmla="*/ 11550310 w 11648080"/>
              <a:gd name="connsiteY5" fmla="*/ 1987681 h 6858000"/>
              <a:gd name="connsiteX6" fmla="*/ 11494204 w 11648080"/>
              <a:gd name="connsiteY6" fmla="*/ 1905523 h 6858000"/>
              <a:gd name="connsiteX7" fmla="*/ 11326061 w 11648080"/>
              <a:gd name="connsiteY7" fmla="*/ 1692532 h 6858000"/>
              <a:gd name="connsiteX8" fmla="*/ 11406282 w 11648080"/>
              <a:gd name="connsiteY8" fmla="*/ 1785822 h 6858000"/>
              <a:gd name="connsiteX9" fmla="*/ 11420409 w 11648080"/>
              <a:gd name="connsiteY9" fmla="*/ 1805055 h 6858000"/>
              <a:gd name="connsiteX10" fmla="*/ 11326061 w 11648080"/>
              <a:gd name="connsiteY10" fmla="*/ 1692532 h 6858000"/>
              <a:gd name="connsiteX11" fmla="*/ 10829453 w 11648080"/>
              <a:gd name="connsiteY11" fmla="*/ 1199865 h 6858000"/>
              <a:gd name="connsiteX12" fmla="*/ 10830227 w 11648080"/>
              <a:gd name="connsiteY12" fmla="*/ 1200518 h 6858000"/>
              <a:gd name="connsiteX13" fmla="*/ 10836860 w 11648080"/>
              <a:gd name="connsiteY13" fmla="*/ 1206669 h 6858000"/>
              <a:gd name="connsiteX14" fmla="*/ 10829453 w 11648080"/>
              <a:gd name="connsiteY14" fmla="*/ 1199865 h 6858000"/>
              <a:gd name="connsiteX15" fmla="*/ 10586019 w 11648080"/>
              <a:gd name="connsiteY15" fmla="*/ 995058 h 6858000"/>
              <a:gd name="connsiteX16" fmla="*/ 10594661 w 11648080"/>
              <a:gd name="connsiteY16" fmla="*/ 1001698 h 6858000"/>
              <a:gd name="connsiteX17" fmla="*/ 10635916 w 11648080"/>
              <a:gd name="connsiteY17" fmla="*/ 1036517 h 6858000"/>
              <a:gd name="connsiteX18" fmla="*/ 10586019 w 11648080"/>
              <a:gd name="connsiteY18" fmla="*/ 995058 h 6858000"/>
              <a:gd name="connsiteX19" fmla="*/ 10333954 w 11648080"/>
              <a:gd name="connsiteY19" fmla="*/ 802539 h 6858000"/>
              <a:gd name="connsiteX20" fmla="*/ 10350933 w 11648080"/>
              <a:gd name="connsiteY20" fmla="*/ 814415 h 6858000"/>
              <a:gd name="connsiteX21" fmla="*/ 10404349 w 11648080"/>
              <a:gd name="connsiteY21" fmla="*/ 855460 h 6858000"/>
              <a:gd name="connsiteX22" fmla="*/ 10333954 w 11648080"/>
              <a:gd name="connsiteY22" fmla="*/ 802539 h 6858000"/>
              <a:gd name="connsiteX23" fmla="*/ 10073757 w 11648080"/>
              <a:gd name="connsiteY23" fmla="*/ 622182 h 6858000"/>
              <a:gd name="connsiteX24" fmla="*/ 10099498 w 11648080"/>
              <a:gd name="connsiteY24" fmla="*/ 638556 h 6858000"/>
              <a:gd name="connsiteX25" fmla="*/ 10157163 w 11648080"/>
              <a:gd name="connsiteY25" fmla="*/ 678888 h 6858000"/>
              <a:gd name="connsiteX26" fmla="*/ 10073757 w 11648080"/>
              <a:gd name="connsiteY26" fmla="*/ 622182 h 6858000"/>
              <a:gd name="connsiteX27" fmla="*/ 9805942 w 11648080"/>
              <a:gd name="connsiteY27" fmla="*/ 453866 h 6858000"/>
              <a:gd name="connsiteX28" fmla="*/ 9840808 w 11648080"/>
              <a:gd name="connsiteY28" fmla="*/ 474006 h 6858000"/>
              <a:gd name="connsiteX29" fmla="*/ 9898785 w 11648080"/>
              <a:gd name="connsiteY29" fmla="*/ 510885 h 6858000"/>
              <a:gd name="connsiteX30" fmla="*/ 9805942 w 11648080"/>
              <a:gd name="connsiteY30" fmla="*/ 453866 h 6858000"/>
              <a:gd name="connsiteX31" fmla="*/ 5416523 w 11648080"/>
              <a:gd name="connsiteY31" fmla="*/ 392344 h 6858000"/>
              <a:gd name="connsiteX32" fmla="*/ 7023101 w 11648080"/>
              <a:gd name="connsiteY32" fmla="*/ 661672 h 6858000"/>
              <a:gd name="connsiteX33" fmla="*/ 9331960 w 11648080"/>
              <a:gd name="connsiteY33" fmla="*/ 2457451 h 6858000"/>
              <a:gd name="connsiteX34" fmla="*/ 10982484 w 11648080"/>
              <a:gd name="connsiteY34" fmla="*/ 4320382 h 6858000"/>
              <a:gd name="connsiteX35" fmla="*/ 11046723 w 11648080"/>
              <a:gd name="connsiteY35" fmla="*/ 4399855 h 6858000"/>
              <a:gd name="connsiteX36" fmla="*/ 10950686 w 11648080"/>
              <a:gd name="connsiteY36" fmla="*/ 4415959 h 6858000"/>
              <a:gd name="connsiteX37" fmla="*/ 9269729 w 11648080"/>
              <a:gd name="connsiteY37" fmla="*/ 5092699 h 6858000"/>
              <a:gd name="connsiteX38" fmla="*/ 8111807 w 11648080"/>
              <a:gd name="connsiteY38" fmla="*/ 6820535 h 6858000"/>
              <a:gd name="connsiteX39" fmla="*/ 8096827 w 11648080"/>
              <a:gd name="connsiteY39" fmla="*/ 6858000 h 6858000"/>
              <a:gd name="connsiteX40" fmla="*/ 0 w 11648080"/>
              <a:gd name="connsiteY40" fmla="*/ 6858000 h 6858000"/>
              <a:gd name="connsiteX41" fmla="*/ 0 w 11648080"/>
              <a:gd name="connsiteY41" fmla="*/ 1312476 h 6858000"/>
              <a:gd name="connsiteX42" fmla="*/ 393384 w 11648080"/>
              <a:gd name="connsiteY42" fmla="*/ 1170010 h 6858000"/>
              <a:gd name="connsiteX43" fmla="*/ 1790701 w 11648080"/>
              <a:gd name="connsiteY43" fmla="*/ 836932 h 6858000"/>
              <a:gd name="connsiteX44" fmla="*/ 5416523 w 11648080"/>
              <a:gd name="connsiteY44" fmla="*/ 392344 h 6858000"/>
              <a:gd name="connsiteX45" fmla="*/ 7788060 w 11648080"/>
              <a:gd name="connsiteY45" fmla="*/ 373174 h 6858000"/>
              <a:gd name="connsiteX46" fmla="*/ 7951989 w 11648080"/>
              <a:gd name="connsiteY46" fmla="*/ 496695 h 6858000"/>
              <a:gd name="connsiteX47" fmla="*/ 8131809 w 11648080"/>
              <a:gd name="connsiteY47" fmla="*/ 618490 h 6858000"/>
              <a:gd name="connsiteX48" fmla="*/ 10486389 w 11648080"/>
              <a:gd name="connsiteY48" fmla="*/ 1795780 h 6858000"/>
              <a:gd name="connsiteX49" fmla="*/ 10759439 w 11648080"/>
              <a:gd name="connsiteY49" fmla="*/ 1939290 h 6858000"/>
              <a:gd name="connsiteX50" fmla="*/ 11288712 w 11648080"/>
              <a:gd name="connsiteY50" fmla="*/ 2224564 h 6858000"/>
              <a:gd name="connsiteX51" fmla="*/ 11288712 w 11648080"/>
              <a:gd name="connsiteY51" fmla="*/ 2224565 h 6858000"/>
              <a:gd name="connsiteX52" fmla="*/ 10759440 w 11648080"/>
              <a:gd name="connsiteY52" fmla="*/ 1939291 h 6858000"/>
              <a:gd name="connsiteX53" fmla="*/ 10486390 w 11648080"/>
              <a:gd name="connsiteY53" fmla="*/ 1795782 h 6858000"/>
              <a:gd name="connsiteX54" fmla="*/ 8131810 w 11648080"/>
              <a:gd name="connsiteY54" fmla="*/ 619761 h 6858000"/>
              <a:gd name="connsiteX55" fmla="*/ 7927023 w 11648080"/>
              <a:gd name="connsiteY55" fmla="*/ 479920 h 6858000"/>
              <a:gd name="connsiteX56" fmla="*/ 7788060 w 11648080"/>
              <a:gd name="connsiteY56" fmla="*/ 373174 h 6858000"/>
              <a:gd name="connsiteX57" fmla="*/ 7778945 w 11648080"/>
              <a:gd name="connsiteY57" fmla="*/ 366172 h 6858000"/>
              <a:gd name="connsiteX58" fmla="*/ 7788060 w 11648080"/>
              <a:gd name="connsiteY58" fmla="*/ 373174 h 6858000"/>
              <a:gd name="connsiteX59" fmla="*/ 7780464 w 11648080"/>
              <a:gd name="connsiteY59" fmla="*/ 367450 h 6858000"/>
              <a:gd name="connsiteX60" fmla="*/ 7778945 w 11648080"/>
              <a:gd name="connsiteY60" fmla="*/ 366172 h 6858000"/>
              <a:gd name="connsiteX61" fmla="*/ 9631237 w 11648080"/>
              <a:gd name="connsiteY61" fmla="*/ 352953 h 6858000"/>
              <a:gd name="connsiteX62" fmla="*/ 9575319 w 11648080"/>
              <a:gd name="connsiteY62" fmla="*/ 320654 h 6858000"/>
              <a:gd name="connsiteX63" fmla="*/ 9631237 w 11648080"/>
              <a:gd name="connsiteY63" fmla="*/ 352953 h 6858000"/>
              <a:gd name="connsiteX64" fmla="*/ 7544713 w 11648080"/>
              <a:gd name="connsiteY64" fmla="*/ 169063 h 6858000"/>
              <a:gd name="connsiteX65" fmla="*/ 7778945 w 11648080"/>
              <a:gd name="connsiteY65" fmla="*/ 366172 h 6858000"/>
              <a:gd name="connsiteX66" fmla="*/ 7732713 w 11648080"/>
              <a:gd name="connsiteY66" fmla="*/ 330658 h 6858000"/>
              <a:gd name="connsiteX67" fmla="*/ 7544713 w 11648080"/>
              <a:gd name="connsiteY67" fmla="*/ 169063 h 6858000"/>
              <a:gd name="connsiteX68" fmla="*/ 7414333 w 11648080"/>
              <a:gd name="connsiteY68" fmla="*/ 56995 h 6858000"/>
              <a:gd name="connsiteX69" fmla="*/ 7544713 w 11648080"/>
              <a:gd name="connsiteY69" fmla="*/ 169063 h 6858000"/>
              <a:gd name="connsiteX70" fmla="*/ 7454642 w 11648080"/>
              <a:gd name="connsiteY70" fmla="*/ 93267 h 6858000"/>
              <a:gd name="connsiteX71" fmla="*/ 7414333 w 11648080"/>
              <a:gd name="connsiteY71" fmla="*/ 56995 h 6858000"/>
              <a:gd name="connsiteX72" fmla="*/ 7348739 w 11648080"/>
              <a:gd name="connsiteY72" fmla="*/ 0 h 6858000"/>
              <a:gd name="connsiteX73" fmla="*/ 7350996 w 11648080"/>
              <a:gd name="connsiteY73" fmla="*/ 0 h 6858000"/>
              <a:gd name="connsiteX74" fmla="*/ 7414333 w 11648080"/>
              <a:gd name="connsiteY74" fmla="*/ 56995 h 6858000"/>
              <a:gd name="connsiteX75" fmla="*/ 7364096 w 11648080"/>
              <a:gd name="connsiteY75" fmla="*/ 13813 h 6858000"/>
              <a:gd name="connsiteX76" fmla="*/ 7348739 w 11648080"/>
              <a:gd name="connsiteY76" fmla="*/ 0 h 6858000"/>
              <a:gd name="connsiteX77" fmla="*/ 1493836 w 11648080"/>
              <a:gd name="connsiteY77" fmla="*/ 0 h 6858000"/>
              <a:gd name="connsiteX78" fmla="*/ 1493841 w 11648080"/>
              <a:gd name="connsiteY78" fmla="*/ 0 h 6858000"/>
              <a:gd name="connsiteX79" fmla="*/ 1318737 w 11648080"/>
              <a:gd name="connsiteY79" fmla="*/ 70646 h 6858000"/>
              <a:gd name="connsiteX80" fmla="*/ 1036321 w 11648080"/>
              <a:gd name="connsiteY80" fmla="*/ 194312 h 6858000"/>
              <a:gd name="connsiteX81" fmla="*/ 130672 w 11648080"/>
              <a:gd name="connsiteY81" fmla="*/ 671514 h 6858000"/>
              <a:gd name="connsiteX82" fmla="*/ 0 w 11648080"/>
              <a:gd name="connsiteY82" fmla="*/ 747683 h 6858000"/>
              <a:gd name="connsiteX83" fmla="*/ 0 w 11648080"/>
              <a:gd name="connsiteY83" fmla="*/ 747682 h 6858000"/>
              <a:gd name="connsiteX84" fmla="*/ 130672 w 11648080"/>
              <a:gd name="connsiteY84" fmla="*/ 671513 h 6858000"/>
              <a:gd name="connsiteX85" fmla="*/ 1036321 w 11648080"/>
              <a:gd name="connsiteY85" fmla="*/ 194310 h 6858000"/>
              <a:gd name="connsiteX86" fmla="*/ 1318737 w 11648080"/>
              <a:gd name="connsiteY86" fmla="*/ 70644 h 6858000"/>
              <a:gd name="connsiteX87" fmla="*/ 1493836 w 11648080"/>
              <a:gd name="connsiteY87" fmla="*/ 0 h 6858000"/>
              <a:gd name="connsiteX0" fmla="*/ 11648080 w 11648080"/>
              <a:gd name="connsiteY0" fmla="*/ 2146495 h 6858000"/>
              <a:gd name="connsiteX1" fmla="*/ 11629346 w 11648080"/>
              <a:gd name="connsiteY1" fmla="*/ 2112520 h 6858000"/>
              <a:gd name="connsiteX2" fmla="*/ 11648080 w 11648080"/>
              <a:gd name="connsiteY2" fmla="*/ 2146495 h 6858000"/>
              <a:gd name="connsiteX3" fmla="*/ 11494204 w 11648080"/>
              <a:gd name="connsiteY3" fmla="*/ 1905523 h 6858000"/>
              <a:gd name="connsiteX4" fmla="*/ 11523841 w 11648080"/>
              <a:gd name="connsiteY4" fmla="*/ 1945872 h 6858000"/>
              <a:gd name="connsiteX5" fmla="*/ 11550310 w 11648080"/>
              <a:gd name="connsiteY5" fmla="*/ 1987681 h 6858000"/>
              <a:gd name="connsiteX6" fmla="*/ 11494204 w 11648080"/>
              <a:gd name="connsiteY6" fmla="*/ 1905523 h 6858000"/>
              <a:gd name="connsiteX7" fmla="*/ 11326061 w 11648080"/>
              <a:gd name="connsiteY7" fmla="*/ 1692532 h 6858000"/>
              <a:gd name="connsiteX8" fmla="*/ 11406282 w 11648080"/>
              <a:gd name="connsiteY8" fmla="*/ 1785822 h 6858000"/>
              <a:gd name="connsiteX9" fmla="*/ 11420409 w 11648080"/>
              <a:gd name="connsiteY9" fmla="*/ 1805055 h 6858000"/>
              <a:gd name="connsiteX10" fmla="*/ 11326061 w 11648080"/>
              <a:gd name="connsiteY10" fmla="*/ 1692532 h 6858000"/>
              <a:gd name="connsiteX11" fmla="*/ 10829453 w 11648080"/>
              <a:gd name="connsiteY11" fmla="*/ 1199865 h 6858000"/>
              <a:gd name="connsiteX12" fmla="*/ 10830227 w 11648080"/>
              <a:gd name="connsiteY12" fmla="*/ 1200518 h 6858000"/>
              <a:gd name="connsiteX13" fmla="*/ 10836860 w 11648080"/>
              <a:gd name="connsiteY13" fmla="*/ 1206669 h 6858000"/>
              <a:gd name="connsiteX14" fmla="*/ 10829453 w 11648080"/>
              <a:gd name="connsiteY14" fmla="*/ 1199865 h 6858000"/>
              <a:gd name="connsiteX15" fmla="*/ 10586019 w 11648080"/>
              <a:gd name="connsiteY15" fmla="*/ 995058 h 6858000"/>
              <a:gd name="connsiteX16" fmla="*/ 10594661 w 11648080"/>
              <a:gd name="connsiteY16" fmla="*/ 1001698 h 6858000"/>
              <a:gd name="connsiteX17" fmla="*/ 10635916 w 11648080"/>
              <a:gd name="connsiteY17" fmla="*/ 1036517 h 6858000"/>
              <a:gd name="connsiteX18" fmla="*/ 10586019 w 11648080"/>
              <a:gd name="connsiteY18" fmla="*/ 995058 h 6858000"/>
              <a:gd name="connsiteX19" fmla="*/ 10333954 w 11648080"/>
              <a:gd name="connsiteY19" fmla="*/ 802539 h 6858000"/>
              <a:gd name="connsiteX20" fmla="*/ 10350933 w 11648080"/>
              <a:gd name="connsiteY20" fmla="*/ 814415 h 6858000"/>
              <a:gd name="connsiteX21" fmla="*/ 10404349 w 11648080"/>
              <a:gd name="connsiteY21" fmla="*/ 855460 h 6858000"/>
              <a:gd name="connsiteX22" fmla="*/ 10333954 w 11648080"/>
              <a:gd name="connsiteY22" fmla="*/ 802539 h 6858000"/>
              <a:gd name="connsiteX23" fmla="*/ 10073757 w 11648080"/>
              <a:gd name="connsiteY23" fmla="*/ 622182 h 6858000"/>
              <a:gd name="connsiteX24" fmla="*/ 10099498 w 11648080"/>
              <a:gd name="connsiteY24" fmla="*/ 638556 h 6858000"/>
              <a:gd name="connsiteX25" fmla="*/ 10157163 w 11648080"/>
              <a:gd name="connsiteY25" fmla="*/ 678888 h 6858000"/>
              <a:gd name="connsiteX26" fmla="*/ 10073757 w 11648080"/>
              <a:gd name="connsiteY26" fmla="*/ 622182 h 6858000"/>
              <a:gd name="connsiteX27" fmla="*/ 9805942 w 11648080"/>
              <a:gd name="connsiteY27" fmla="*/ 453866 h 6858000"/>
              <a:gd name="connsiteX28" fmla="*/ 9840808 w 11648080"/>
              <a:gd name="connsiteY28" fmla="*/ 474006 h 6858000"/>
              <a:gd name="connsiteX29" fmla="*/ 9898785 w 11648080"/>
              <a:gd name="connsiteY29" fmla="*/ 510885 h 6858000"/>
              <a:gd name="connsiteX30" fmla="*/ 9805942 w 11648080"/>
              <a:gd name="connsiteY30" fmla="*/ 453866 h 6858000"/>
              <a:gd name="connsiteX31" fmla="*/ 5416523 w 11648080"/>
              <a:gd name="connsiteY31" fmla="*/ 392344 h 6858000"/>
              <a:gd name="connsiteX32" fmla="*/ 7023101 w 11648080"/>
              <a:gd name="connsiteY32" fmla="*/ 661672 h 6858000"/>
              <a:gd name="connsiteX33" fmla="*/ 9331960 w 11648080"/>
              <a:gd name="connsiteY33" fmla="*/ 2457451 h 6858000"/>
              <a:gd name="connsiteX34" fmla="*/ 10982484 w 11648080"/>
              <a:gd name="connsiteY34" fmla="*/ 4320382 h 6858000"/>
              <a:gd name="connsiteX35" fmla="*/ 11046723 w 11648080"/>
              <a:gd name="connsiteY35" fmla="*/ 4399855 h 6858000"/>
              <a:gd name="connsiteX36" fmla="*/ 10950686 w 11648080"/>
              <a:gd name="connsiteY36" fmla="*/ 4415959 h 6858000"/>
              <a:gd name="connsiteX37" fmla="*/ 9269729 w 11648080"/>
              <a:gd name="connsiteY37" fmla="*/ 5092699 h 6858000"/>
              <a:gd name="connsiteX38" fmla="*/ 8111807 w 11648080"/>
              <a:gd name="connsiteY38" fmla="*/ 6820535 h 6858000"/>
              <a:gd name="connsiteX39" fmla="*/ 8096827 w 11648080"/>
              <a:gd name="connsiteY39" fmla="*/ 6858000 h 6858000"/>
              <a:gd name="connsiteX40" fmla="*/ 0 w 11648080"/>
              <a:gd name="connsiteY40" fmla="*/ 6858000 h 6858000"/>
              <a:gd name="connsiteX41" fmla="*/ 0 w 11648080"/>
              <a:gd name="connsiteY41" fmla="*/ 1312476 h 6858000"/>
              <a:gd name="connsiteX42" fmla="*/ 393384 w 11648080"/>
              <a:gd name="connsiteY42" fmla="*/ 1170010 h 6858000"/>
              <a:gd name="connsiteX43" fmla="*/ 1790701 w 11648080"/>
              <a:gd name="connsiteY43" fmla="*/ 836932 h 6858000"/>
              <a:gd name="connsiteX44" fmla="*/ 5416523 w 11648080"/>
              <a:gd name="connsiteY44" fmla="*/ 392344 h 6858000"/>
              <a:gd name="connsiteX45" fmla="*/ 7788060 w 11648080"/>
              <a:gd name="connsiteY45" fmla="*/ 373174 h 6858000"/>
              <a:gd name="connsiteX46" fmla="*/ 7951989 w 11648080"/>
              <a:gd name="connsiteY46" fmla="*/ 496695 h 6858000"/>
              <a:gd name="connsiteX47" fmla="*/ 8131809 w 11648080"/>
              <a:gd name="connsiteY47" fmla="*/ 618490 h 6858000"/>
              <a:gd name="connsiteX48" fmla="*/ 10486389 w 11648080"/>
              <a:gd name="connsiteY48" fmla="*/ 1795780 h 6858000"/>
              <a:gd name="connsiteX49" fmla="*/ 10759439 w 11648080"/>
              <a:gd name="connsiteY49" fmla="*/ 1939290 h 6858000"/>
              <a:gd name="connsiteX50" fmla="*/ 11288712 w 11648080"/>
              <a:gd name="connsiteY50" fmla="*/ 2224564 h 6858000"/>
              <a:gd name="connsiteX51" fmla="*/ 11288712 w 11648080"/>
              <a:gd name="connsiteY51" fmla="*/ 2224565 h 6858000"/>
              <a:gd name="connsiteX52" fmla="*/ 10759440 w 11648080"/>
              <a:gd name="connsiteY52" fmla="*/ 1939291 h 6858000"/>
              <a:gd name="connsiteX53" fmla="*/ 10486390 w 11648080"/>
              <a:gd name="connsiteY53" fmla="*/ 1795782 h 6858000"/>
              <a:gd name="connsiteX54" fmla="*/ 8131810 w 11648080"/>
              <a:gd name="connsiteY54" fmla="*/ 619761 h 6858000"/>
              <a:gd name="connsiteX55" fmla="*/ 7927023 w 11648080"/>
              <a:gd name="connsiteY55" fmla="*/ 479920 h 6858000"/>
              <a:gd name="connsiteX56" fmla="*/ 7788060 w 11648080"/>
              <a:gd name="connsiteY56" fmla="*/ 373174 h 6858000"/>
              <a:gd name="connsiteX57" fmla="*/ 7778945 w 11648080"/>
              <a:gd name="connsiteY57" fmla="*/ 366172 h 6858000"/>
              <a:gd name="connsiteX58" fmla="*/ 7788060 w 11648080"/>
              <a:gd name="connsiteY58" fmla="*/ 373174 h 6858000"/>
              <a:gd name="connsiteX59" fmla="*/ 7780464 w 11648080"/>
              <a:gd name="connsiteY59" fmla="*/ 367450 h 6858000"/>
              <a:gd name="connsiteX60" fmla="*/ 7778945 w 11648080"/>
              <a:gd name="connsiteY60" fmla="*/ 366172 h 6858000"/>
              <a:gd name="connsiteX61" fmla="*/ 7544713 w 11648080"/>
              <a:gd name="connsiteY61" fmla="*/ 169063 h 6858000"/>
              <a:gd name="connsiteX62" fmla="*/ 7778945 w 11648080"/>
              <a:gd name="connsiteY62" fmla="*/ 366172 h 6858000"/>
              <a:gd name="connsiteX63" fmla="*/ 7732713 w 11648080"/>
              <a:gd name="connsiteY63" fmla="*/ 330658 h 6858000"/>
              <a:gd name="connsiteX64" fmla="*/ 7544713 w 11648080"/>
              <a:gd name="connsiteY64" fmla="*/ 169063 h 6858000"/>
              <a:gd name="connsiteX65" fmla="*/ 7414333 w 11648080"/>
              <a:gd name="connsiteY65" fmla="*/ 56995 h 6858000"/>
              <a:gd name="connsiteX66" fmla="*/ 7544713 w 11648080"/>
              <a:gd name="connsiteY66" fmla="*/ 169063 h 6858000"/>
              <a:gd name="connsiteX67" fmla="*/ 7454642 w 11648080"/>
              <a:gd name="connsiteY67" fmla="*/ 93267 h 6858000"/>
              <a:gd name="connsiteX68" fmla="*/ 7414333 w 11648080"/>
              <a:gd name="connsiteY68" fmla="*/ 56995 h 6858000"/>
              <a:gd name="connsiteX69" fmla="*/ 7348739 w 11648080"/>
              <a:gd name="connsiteY69" fmla="*/ 0 h 6858000"/>
              <a:gd name="connsiteX70" fmla="*/ 7350996 w 11648080"/>
              <a:gd name="connsiteY70" fmla="*/ 0 h 6858000"/>
              <a:gd name="connsiteX71" fmla="*/ 7414333 w 11648080"/>
              <a:gd name="connsiteY71" fmla="*/ 56995 h 6858000"/>
              <a:gd name="connsiteX72" fmla="*/ 7364096 w 11648080"/>
              <a:gd name="connsiteY72" fmla="*/ 13813 h 6858000"/>
              <a:gd name="connsiteX73" fmla="*/ 7348739 w 11648080"/>
              <a:gd name="connsiteY73" fmla="*/ 0 h 6858000"/>
              <a:gd name="connsiteX74" fmla="*/ 1493836 w 11648080"/>
              <a:gd name="connsiteY74" fmla="*/ 0 h 6858000"/>
              <a:gd name="connsiteX75" fmla="*/ 1493841 w 11648080"/>
              <a:gd name="connsiteY75" fmla="*/ 0 h 6858000"/>
              <a:gd name="connsiteX76" fmla="*/ 1318737 w 11648080"/>
              <a:gd name="connsiteY76" fmla="*/ 70646 h 6858000"/>
              <a:gd name="connsiteX77" fmla="*/ 1036321 w 11648080"/>
              <a:gd name="connsiteY77" fmla="*/ 194312 h 6858000"/>
              <a:gd name="connsiteX78" fmla="*/ 130672 w 11648080"/>
              <a:gd name="connsiteY78" fmla="*/ 671514 h 6858000"/>
              <a:gd name="connsiteX79" fmla="*/ 0 w 11648080"/>
              <a:gd name="connsiteY79" fmla="*/ 747683 h 6858000"/>
              <a:gd name="connsiteX80" fmla="*/ 0 w 11648080"/>
              <a:gd name="connsiteY80" fmla="*/ 747682 h 6858000"/>
              <a:gd name="connsiteX81" fmla="*/ 130672 w 11648080"/>
              <a:gd name="connsiteY81" fmla="*/ 671513 h 6858000"/>
              <a:gd name="connsiteX82" fmla="*/ 1036321 w 11648080"/>
              <a:gd name="connsiteY82" fmla="*/ 194310 h 6858000"/>
              <a:gd name="connsiteX83" fmla="*/ 1318737 w 11648080"/>
              <a:gd name="connsiteY83" fmla="*/ 70644 h 6858000"/>
              <a:gd name="connsiteX84" fmla="*/ 1493836 w 11648080"/>
              <a:gd name="connsiteY84" fmla="*/ 0 h 6858000"/>
              <a:gd name="connsiteX0" fmla="*/ 11648080 w 11648080"/>
              <a:gd name="connsiteY0" fmla="*/ 2146495 h 6858000"/>
              <a:gd name="connsiteX1" fmla="*/ 11629346 w 11648080"/>
              <a:gd name="connsiteY1" fmla="*/ 2112520 h 6858000"/>
              <a:gd name="connsiteX2" fmla="*/ 11648080 w 11648080"/>
              <a:gd name="connsiteY2" fmla="*/ 2146495 h 6858000"/>
              <a:gd name="connsiteX3" fmla="*/ 11494204 w 11648080"/>
              <a:gd name="connsiteY3" fmla="*/ 1905523 h 6858000"/>
              <a:gd name="connsiteX4" fmla="*/ 11523841 w 11648080"/>
              <a:gd name="connsiteY4" fmla="*/ 1945872 h 6858000"/>
              <a:gd name="connsiteX5" fmla="*/ 11550310 w 11648080"/>
              <a:gd name="connsiteY5" fmla="*/ 1987681 h 6858000"/>
              <a:gd name="connsiteX6" fmla="*/ 11494204 w 11648080"/>
              <a:gd name="connsiteY6" fmla="*/ 1905523 h 6858000"/>
              <a:gd name="connsiteX7" fmla="*/ 11326061 w 11648080"/>
              <a:gd name="connsiteY7" fmla="*/ 1692532 h 6858000"/>
              <a:gd name="connsiteX8" fmla="*/ 11406282 w 11648080"/>
              <a:gd name="connsiteY8" fmla="*/ 1785822 h 6858000"/>
              <a:gd name="connsiteX9" fmla="*/ 11420409 w 11648080"/>
              <a:gd name="connsiteY9" fmla="*/ 1805055 h 6858000"/>
              <a:gd name="connsiteX10" fmla="*/ 11326061 w 11648080"/>
              <a:gd name="connsiteY10" fmla="*/ 1692532 h 6858000"/>
              <a:gd name="connsiteX11" fmla="*/ 10829453 w 11648080"/>
              <a:gd name="connsiteY11" fmla="*/ 1199865 h 6858000"/>
              <a:gd name="connsiteX12" fmla="*/ 10830227 w 11648080"/>
              <a:gd name="connsiteY12" fmla="*/ 1200518 h 6858000"/>
              <a:gd name="connsiteX13" fmla="*/ 10836860 w 11648080"/>
              <a:gd name="connsiteY13" fmla="*/ 1206669 h 6858000"/>
              <a:gd name="connsiteX14" fmla="*/ 10829453 w 11648080"/>
              <a:gd name="connsiteY14" fmla="*/ 1199865 h 6858000"/>
              <a:gd name="connsiteX15" fmla="*/ 10586019 w 11648080"/>
              <a:gd name="connsiteY15" fmla="*/ 995058 h 6858000"/>
              <a:gd name="connsiteX16" fmla="*/ 10594661 w 11648080"/>
              <a:gd name="connsiteY16" fmla="*/ 1001698 h 6858000"/>
              <a:gd name="connsiteX17" fmla="*/ 10635916 w 11648080"/>
              <a:gd name="connsiteY17" fmla="*/ 1036517 h 6858000"/>
              <a:gd name="connsiteX18" fmla="*/ 10586019 w 11648080"/>
              <a:gd name="connsiteY18" fmla="*/ 995058 h 6858000"/>
              <a:gd name="connsiteX19" fmla="*/ 10333954 w 11648080"/>
              <a:gd name="connsiteY19" fmla="*/ 802539 h 6858000"/>
              <a:gd name="connsiteX20" fmla="*/ 10350933 w 11648080"/>
              <a:gd name="connsiteY20" fmla="*/ 814415 h 6858000"/>
              <a:gd name="connsiteX21" fmla="*/ 10404349 w 11648080"/>
              <a:gd name="connsiteY21" fmla="*/ 855460 h 6858000"/>
              <a:gd name="connsiteX22" fmla="*/ 10333954 w 11648080"/>
              <a:gd name="connsiteY22" fmla="*/ 802539 h 6858000"/>
              <a:gd name="connsiteX23" fmla="*/ 10073757 w 11648080"/>
              <a:gd name="connsiteY23" fmla="*/ 622182 h 6858000"/>
              <a:gd name="connsiteX24" fmla="*/ 10099498 w 11648080"/>
              <a:gd name="connsiteY24" fmla="*/ 638556 h 6858000"/>
              <a:gd name="connsiteX25" fmla="*/ 10157163 w 11648080"/>
              <a:gd name="connsiteY25" fmla="*/ 678888 h 6858000"/>
              <a:gd name="connsiteX26" fmla="*/ 10073757 w 11648080"/>
              <a:gd name="connsiteY26" fmla="*/ 622182 h 6858000"/>
              <a:gd name="connsiteX27" fmla="*/ 9898785 w 11648080"/>
              <a:gd name="connsiteY27" fmla="*/ 510885 h 6858000"/>
              <a:gd name="connsiteX28" fmla="*/ 9840808 w 11648080"/>
              <a:gd name="connsiteY28" fmla="*/ 474006 h 6858000"/>
              <a:gd name="connsiteX29" fmla="*/ 9898785 w 11648080"/>
              <a:gd name="connsiteY29" fmla="*/ 510885 h 6858000"/>
              <a:gd name="connsiteX30" fmla="*/ 5416523 w 11648080"/>
              <a:gd name="connsiteY30" fmla="*/ 392344 h 6858000"/>
              <a:gd name="connsiteX31" fmla="*/ 7023101 w 11648080"/>
              <a:gd name="connsiteY31" fmla="*/ 661672 h 6858000"/>
              <a:gd name="connsiteX32" fmla="*/ 9331960 w 11648080"/>
              <a:gd name="connsiteY32" fmla="*/ 2457451 h 6858000"/>
              <a:gd name="connsiteX33" fmla="*/ 10982484 w 11648080"/>
              <a:gd name="connsiteY33" fmla="*/ 4320382 h 6858000"/>
              <a:gd name="connsiteX34" fmla="*/ 11046723 w 11648080"/>
              <a:gd name="connsiteY34" fmla="*/ 4399855 h 6858000"/>
              <a:gd name="connsiteX35" fmla="*/ 10950686 w 11648080"/>
              <a:gd name="connsiteY35" fmla="*/ 4415959 h 6858000"/>
              <a:gd name="connsiteX36" fmla="*/ 9269729 w 11648080"/>
              <a:gd name="connsiteY36" fmla="*/ 5092699 h 6858000"/>
              <a:gd name="connsiteX37" fmla="*/ 8111807 w 11648080"/>
              <a:gd name="connsiteY37" fmla="*/ 6820535 h 6858000"/>
              <a:gd name="connsiteX38" fmla="*/ 8096827 w 11648080"/>
              <a:gd name="connsiteY38" fmla="*/ 6858000 h 6858000"/>
              <a:gd name="connsiteX39" fmla="*/ 0 w 11648080"/>
              <a:gd name="connsiteY39" fmla="*/ 6858000 h 6858000"/>
              <a:gd name="connsiteX40" fmla="*/ 0 w 11648080"/>
              <a:gd name="connsiteY40" fmla="*/ 1312476 h 6858000"/>
              <a:gd name="connsiteX41" fmla="*/ 393384 w 11648080"/>
              <a:gd name="connsiteY41" fmla="*/ 1170010 h 6858000"/>
              <a:gd name="connsiteX42" fmla="*/ 1790701 w 11648080"/>
              <a:gd name="connsiteY42" fmla="*/ 836932 h 6858000"/>
              <a:gd name="connsiteX43" fmla="*/ 5416523 w 11648080"/>
              <a:gd name="connsiteY43" fmla="*/ 392344 h 6858000"/>
              <a:gd name="connsiteX44" fmla="*/ 7788060 w 11648080"/>
              <a:gd name="connsiteY44" fmla="*/ 373174 h 6858000"/>
              <a:gd name="connsiteX45" fmla="*/ 7951989 w 11648080"/>
              <a:gd name="connsiteY45" fmla="*/ 496695 h 6858000"/>
              <a:gd name="connsiteX46" fmla="*/ 8131809 w 11648080"/>
              <a:gd name="connsiteY46" fmla="*/ 618490 h 6858000"/>
              <a:gd name="connsiteX47" fmla="*/ 10486389 w 11648080"/>
              <a:gd name="connsiteY47" fmla="*/ 1795780 h 6858000"/>
              <a:gd name="connsiteX48" fmla="*/ 10759439 w 11648080"/>
              <a:gd name="connsiteY48" fmla="*/ 1939290 h 6858000"/>
              <a:gd name="connsiteX49" fmla="*/ 11288712 w 11648080"/>
              <a:gd name="connsiteY49" fmla="*/ 2224564 h 6858000"/>
              <a:gd name="connsiteX50" fmla="*/ 11288712 w 11648080"/>
              <a:gd name="connsiteY50" fmla="*/ 2224565 h 6858000"/>
              <a:gd name="connsiteX51" fmla="*/ 10759440 w 11648080"/>
              <a:gd name="connsiteY51" fmla="*/ 1939291 h 6858000"/>
              <a:gd name="connsiteX52" fmla="*/ 10486390 w 11648080"/>
              <a:gd name="connsiteY52" fmla="*/ 1795782 h 6858000"/>
              <a:gd name="connsiteX53" fmla="*/ 8131810 w 11648080"/>
              <a:gd name="connsiteY53" fmla="*/ 619761 h 6858000"/>
              <a:gd name="connsiteX54" fmla="*/ 7927023 w 11648080"/>
              <a:gd name="connsiteY54" fmla="*/ 479920 h 6858000"/>
              <a:gd name="connsiteX55" fmla="*/ 7788060 w 11648080"/>
              <a:gd name="connsiteY55" fmla="*/ 373174 h 6858000"/>
              <a:gd name="connsiteX56" fmla="*/ 7778945 w 11648080"/>
              <a:gd name="connsiteY56" fmla="*/ 366172 h 6858000"/>
              <a:gd name="connsiteX57" fmla="*/ 7788060 w 11648080"/>
              <a:gd name="connsiteY57" fmla="*/ 373174 h 6858000"/>
              <a:gd name="connsiteX58" fmla="*/ 7780464 w 11648080"/>
              <a:gd name="connsiteY58" fmla="*/ 367450 h 6858000"/>
              <a:gd name="connsiteX59" fmla="*/ 7778945 w 11648080"/>
              <a:gd name="connsiteY59" fmla="*/ 366172 h 6858000"/>
              <a:gd name="connsiteX60" fmla="*/ 7544713 w 11648080"/>
              <a:gd name="connsiteY60" fmla="*/ 169063 h 6858000"/>
              <a:gd name="connsiteX61" fmla="*/ 7778945 w 11648080"/>
              <a:gd name="connsiteY61" fmla="*/ 366172 h 6858000"/>
              <a:gd name="connsiteX62" fmla="*/ 7732713 w 11648080"/>
              <a:gd name="connsiteY62" fmla="*/ 330658 h 6858000"/>
              <a:gd name="connsiteX63" fmla="*/ 7544713 w 11648080"/>
              <a:gd name="connsiteY63" fmla="*/ 169063 h 6858000"/>
              <a:gd name="connsiteX64" fmla="*/ 7414333 w 11648080"/>
              <a:gd name="connsiteY64" fmla="*/ 56995 h 6858000"/>
              <a:gd name="connsiteX65" fmla="*/ 7544713 w 11648080"/>
              <a:gd name="connsiteY65" fmla="*/ 169063 h 6858000"/>
              <a:gd name="connsiteX66" fmla="*/ 7454642 w 11648080"/>
              <a:gd name="connsiteY66" fmla="*/ 93267 h 6858000"/>
              <a:gd name="connsiteX67" fmla="*/ 7414333 w 11648080"/>
              <a:gd name="connsiteY67" fmla="*/ 56995 h 6858000"/>
              <a:gd name="connsiteX68" fmla="*/ 7348739 w 11648080"/>
              <a:gd name="connsiteY68" fmla="*/ 0 h 6858000"/>
              <a:gd name="connsiteX69" fmla="*/ 7350996 w 11648080"/>
              <a:gd name="connsiteY69" fmla="*/ 0 h 6858000"/>
              <a:gd name="connsiteX70" fmla="*/ 7414333 w 11648080"/>
              <a:gd name="connsiteY70" fmla="*/ 56995 h 6858000"/>
              <a:gd name="connsiteX71" fmla="*/ 7364096 w 11648080"/>
              <a:gd name="connsiteY71" fmla="*/ 13813 h 6858000"/>
              <a:gd name="connsiteX72" fmla="*/ 7348739 w 11648080"/>
              <a:gd name="connsiteY72" fmla="*/ 0 h 6858000"/>
              <a:gd name="connsiteX73" fmla="*/ 1493836 w 11648080"/>
              <a:gd name="connsiteY73" fmla="*/ 0 h 6858000"/>
              <a:gd name="connsiteX74" fmla="*/ 1493841 w 11648080"/>
              <a:gd name="connsiteY74" fmla="*/ 0 h 6858000"/>
              <a:gd name="connsiteX75" fmla="*/ 1318737 w 11648080"/>
              <a:gd name="connsiteY75" fmla="*/ 70646 h 6858000"/>
              <a:gd name="connsiteX76" fmla="*/ 1036321 w 11648080"/>
              <a:gd name="connsiteY76" fmla="*/ 194312 h 6858000"/>
              <a:gd name="connsiteX77" fmla="*/ 130672 w 11648080"/>
              <a:gd name="connsiteY77" fmla="*/ 671514 h 6858000"/>
              <a:gd name="connsiteX78" fmla="*/ 0 w 11648080"/>
              <a:gd name="connsiteY78" fmla="*/ 747683 h 6858000"/>
              <a:gd name="connsiteX79" fmla="*/ 0 w 11648080"/>
              <a:gd name="connsiteY79" fmla="*/ 747682 h 6858000"/>
              <a:gd name="connsiteX80" fmla="*/ 130672 w 11648080"/>
              <a:gd name="connsiteY80" fmla="*/ 671513 h 6858000"/>
              <a:gd name="connsiteX81" fmla="*/ 1036321 w 11648080"/>
              <a:gd name="connsiteY81" fmla="*/ 194310 h 6858000"/>
              <a:gd name="connsiteX82" fmla="*/ 1318737 w 11648080"/>
              <a:gd name="connsiteY82" fmla="*/ 70644 h 6858000"/>
              <a:gd name="connsiteX83" fmla="*/ 1493836 w 11648080"/>
              <a:gd name="connsiteY83" fmla="*/ 0 h 6858000"/>
              <a:gd name="connsiteX0" fmla="*/ 11648080 w 11648080"/>
              <a:gd name="connsiteY0" fmla="*/ 2146495 h 6858000"/>
              <a:gd name="connsiteX1" fmla="*/ 11629346 w 11648080"/>
              <a:gd name="connsiteY1" fmla="*/ 2112520 h 6858000"/>
              <a:gd name="connsiteX2" fmla="*/ 11648080 w 11648080"/>
              <a:gd name="connsiteY2" fmla="*/ 2146495 h 6858000"/>
              <a:gd name="connsiteX3" fmla="*/ 11494204 w 11648080"/>
              <a:gd name="connsiteY3" fmla="*/ 1905523 h 6858000"/>
              <a:gd name="connsiteX4" fmla="*/ 11523841 w 11648080"/>
              <a:gd name="connsiteY4" fmla="*/ 1945872 h 6858000"/>
              <a:gd name="connsiteX5" fmla="*/ 11550310 w 11648080"/>
              <a:gd name="connsiteY5" fmla="*/ 1987681 h 6858000"/>
              <a:gd name="connsiteX6" fmla="*/ 11494204 w 11648080"/>
              <a:gd name="connsiteY6" fmla="*/ 1905523 h 6858000"/>
              <a:gd name="connsiteX7" fmla="*/ 11326061 w 11648080"/>
              <a:gd name="connsiteY7" fmla="*/ 1692532 h 6858000"/>
              <a:gd name="connsiteX8" fmla="*/ 11406282 w 11648080"/>
              <a:gd name="connsiteY8" fmla="*/ 1785822 h 6858000"/>
              <a:gd name="connsiteX9" fmla="*/ 11420409 w 11648080"/>
              <a:gd name="connsiteY9" fmla="*/ 1805055 h 6858000"/>
              <a:gd name="connsiteX10" fmla="*/ 11326061 w 11648080"/>
              <a:gd name="connsiteY10" fmla="*/ 1692532 h 6858000"/>
              <a:gd name="connsiteX11" fmla="*/ 10829453 w 11648080"/>
              <a:gd name="connsiteY11" fmla="*/ 1199865 h 6858000"/>
              <a:gd name="connsiteX12" fmla="*/ 10830227 w 11648080"/>
              <a:gd name="connsiteY12" fmla="*/ 1200518 h 6858000"/>
              <a:gd name="connsiteX13" fmla="*/ 10836860 w 11648080"/>
              <a:gd name="connsiteY13" fmla="*/ 1206669 h 6858000"/>
              <a:gd name="connsiteX14" fmla="*/ 10829453 w 11648080"/>
              <a:gd name="connsiteY14" fmla="*/ 1199865 h 6858000"/>
              <a:gd name="connsiteX15" fmla="*/ 10586019 w 11648080"/>
              <a:gd name="connsiteY15" fmla="*/ 995058 h 6858000"/>
              <a:gd name="connsiteX16" fmla="*/ 10594661 w 11648080"/>
              <a:gd name="connsiteY16" fmla="*/ 1001698 h 6858000"/>
              <a:gd name="connsiteX17" fmla="*/ 10635916 w 11648080"/>
              <a:gd name="connsiteY17" fmla="*/ 1036517 h 6858000"/>
              <a:gd name="connsiteX18" fmla="*/ 10586019 w 11648080"/>
              <a:gd name="connsiteY18" fmla="*/ 995058 h 6858000"/>
              <a:gd name="connsiteX19" fmla="*/ 10333954 w 11648080"/>
              <a:gd name="connsiteY19" fmla="*/ 802539 h 6858000"/>
              <a:gd name="connsiteX20" fmla="*/ 10350933 w 11648080"/>
              <a:gd name="connsiteY20" fmla="*/ 814415 h 6858000"/>
              <a:gd name="connsiteX21" fmla="*/ 10404349 w 11648080"/>
              <a:gd name="connsiteY21" fmla="*/ 855460 h 6858000"/>
              <a:gd name="connsiteX22" fmla="*/ 10333954 w 11648080"/>
              <a:gd name="connsiteY22" fmla="*/ 802539 h 6858000"/>
              <a:gd name="connsiteX23" fmla="*/ 10073757 w 11648080"/>
              <a:gd name="connsiteY23" fmla="*/ 622182 h 6858000"/>
              <a:gd name="connsiteX24" fmla="*/ 10099498 w 11648080"/>
              <a:gd name="connsiteY24" fmla="*/ 638556 h 6858000"/>
              <a:gd name="connsiteX25" fmla="*/ 10157163 w 11648080"/>
              <a:gd name="connsiteY25" fmla="*/ 678888 h 6858000"/>
              <a:gd name="connsiteX26" fmla="*/ 10073757 w 11648080"/>
              <a:gd name="connsiteY26" fmla="*/ 622182 h 6858000"/>
              <a:gd name="connsiteX27" fmla="*/ 5416523 w 11648080"/>
              <a:gd name="connsiteY27" fmla="*/ 392344 h 6858000"/>
              <a:gd name="connsiteX28" fmla="*/ 7023101 w 11648080"/>
              <a:gd name="connsiteY28" fmla="*/ 661672 h 6858000"/>
              <a:gd name="connsiteX29" fmla="*/ 9331960 w 11648080"/>
              <a:gd name="connsiteY29" fmla="*/ 2457451 h 6858000"/>
              <a:gd name="connsiteX30" fmla="*/ 10982484 w 11648080"/>
              <a:gd name="connsiteY30" fmla="*/ 4320382 h 6858000"/>
              <a:gd name="connsiteX31" fmla="*/ 11046723 w 11648080"/>
              <a:gd name="connsiteY31" fmla="*/ 4399855 h 6858000"/>
              <a:gd name="connsiteX32" fmla="*/ 10950686 w 11648080"/>
              <a:gd name="connsiteY32" fmla="*/ 4415959 h 6858000"/>
              <a:gd name="connsiteX33" fmla="*/ 9269729 w 11648080"/>
              <a:gd name="connsiteY33" fmla="*/ 5092699 h 6858000"/>
              <a:gd name="connsiteX34" fmla="*/ 8111807 w 11648080"/>
              <a:gd name="connsiteY34" fmla="*/ 6820535 h 6858000"/>
              <a:gd name="connsiteX35" fmla="*/ 8096827 w 11648080"/>
              <a:gd name="connsiteY35" fmla="*/ 6858000 h 6858000"/>
              <a:gd name="connsiteX36" fmla="*/ 0 w 11648080"/>
              <a:gd name="connsiteY36" fmla="*/ 6858000 h 6858000"/>
              <a:gd name="connsiteX37" fmla="*/ 0 w 11648080"/>
              <a:gd name="connsiteY37" fmla="*/ 1312476 h 6858000"/>
              <a:gd name="connsiteX38" fmla="*/ 393384 w 11648080"/>
              <a:gd name="connsiteY38" fmla="*/ 1170010 h 6858000"/>
              <a:gd name="connsiteX39" fmla="*/ 1790701 w 11648080"/>
              <a:gd name="connsiteY39" fmla="*/ 836932 h 6858000"/>
              <a:gd name="connsiteX40" fmla="*/ 5416523 w 11648080"/>
              <a:gd name="connsiteY40" fmla="*/ 392344 h 6858000"/>
              <a:gd name="connsiteX41" fmla="*/ 7788060 w 11648080"/>
              <a:gd name="connsiteY41" fmla="*/ 373174 h 6858000"/>
              <a:gd name="connsiteX42" fmla="*/ 7951989 w 11648080"/>
              <a:gd name="connsiteY42" fmla="*/ 496695 h 6858000"/>
              <a:gd name="connsiteX43" fmla="*/ 8131809 w 11648080"/>
              <a:gd name="connsiteY43" fmla="*/ 618490 h 6858000"/>
              <a:gd name="connsiteX44" fmla="*/ 10486389 w 11648080"/>
              <a:gd name="connsiteY44" fmla="*/ 1795780 h 6858000"/>
              <a:gd name="connsiteX45" fmla="*/ 10759439 w 11648080"/>
              <a:gd name="connsiteY45" fmla="*/ 1939290 h 6858000"/>
              <a:gd name="connsiteX46" fmla="*/ 11288712 w 11648080"/>
              <a:gd name="connsiteY46" fmla="*/ 2224564 h 6858000"/>
              <a:gd name="connsiteX47" fmla="*/ 11288712 w 11648080"/>
              <a:gd name="connsiteY47" fmla="*/ 2224565 h 6858000"/>
              <a:gd name="connsiteX48" fmla="*/ 10759440 w 11648080"/>
              <a:gd name="connsiteY48" fmla="*/ 1939291 h 6858000"/>
              <a:gd name="connsiteX49" fmla="*/ 10486390 w 11648080"/>
              <a:gd name="connsiteY49" fmla="*/ 1795782 h 6858000"/>
              <a:gd name="connsiteX50" fmla="*/ 8131810 w 11648080"/>
              <a:gd name="connsiteY50" fmla="*/ 619761 h 6858000"/>
              <a:gd name="connsiteX51" fmla="*/ 7927023 w 11648080"/>
              <a:gd name="connsiteY51" fmla="*/ 479920 h 6858000"/>
              <a:gd name="connsiteX52" fmla="*/ 7788060 w 11648080"/>
              <a:gd name="connsiteY52" fmla="*/ 373174 h 6858000"/>
              <a:gd name="connsiteX53" fmla="*/ 7778945 w 11648080"/>
              <a:gd name="connsiteY53" fmla="*/ 366172 h 6858000"/>
              <a:gd name="connsiteX54" fmla="*/ 7788060 w 11648080"/>
              <a:gd name="connsiteY54" fmla="*/ 373174 h 6858000"/>
              <a:gd name="connsiteX55" fmla="*/ 7780464 w 11648080"/>
              <a:gd name="connsiteY55" fmla="*/ 367450 h 6858000"/>
              <a:gd name="connsiteX56" fmla="*/ 7778945 w 11648080"/>
              <a:gd name="connsiteY56" fmla="*/ 366172 h 6858000"/>
              <a:gd name="connsiteX57" fmla="*/ 7544713 w 11648080"/>
              <a:gd name="connsiteY57" fmla="*/ 169063 h 6858000"/>
              <a:gd name="connsiteX58" fmla="*/ 7778945 w 11648080"/>
              <a:gd name="connsiteY58" fmla="*/ 366172 h 6858000"/>
              <a:gd name="connsiteX59" fmla="*/ 7732713 w 11648080"/>
              <a:gd name="connsiteY59" fmla="*/ 330658 h 6858000"/>
              <a:gd name="connsiteX60" fmla="*/ 7544713 w 11648080"/>
              <a:gd name="connsiteY60" fmla="*/ 169063 h 6858000"/>
              <a:gd name="connsiteX61" fmla="*/ 7414333 w 11648080"/>
              <a:gd name="connsiteY61" fmla="*/ 56995 h 6858000"/>
              <a:gd name="connsiteX62" fmla="*/ 7544713 w 11648080"/>
              <a:gd name="connsiteY62" fmla="*/ 169063 h 6858000"/>
              <a:gd name="connsiteX63" fmla="*/ 7454642 w 11648080"/>
              <a:gd name="connsiteY63" fmla="*/ 93267 h 6858000"/>
              <a:gd name="connsiteX64" fmla="*/ 7414333 w 11648080"/>
              <a:gd name="connsiteY64" fmla="*/ 56995 h 6858000"/>
              <a:gd name="connsiteX65" fmla="*/ 7348739 w 11648080"/>
              <a:gd name="connsiteY65" fmla="*/ 0 h 6858000"/>
              <a:gd name="connsiteX66" fmla="*/ 7350996 w 11648080"/>
              <a:gd name="connsiteY66" fmla="*/ 0 h 6858000"/>
              <a:gd name="connsiteX67" fmla="*/ 7414333 w 11648080"/>
              <a:gd name="connsiteY67" fmla="*/ 56995 h 6858000"/>
              <a:gd name="connsiteX68" fmla="*/ 7364096 w 11648080"/>
              <a:gd name="connsiteY68" fmla="*/ 13813 h 6858000"/>
              <a:gd name="connsiteX69" fmla="*/ 7348739 w 11648080"/>
              <a:gd name="connsiteY69" fmla="*/ 0 h 6858000"/>
              <a:gd name="connsiteX70" fmla="*/ 1493836 w 11648080"/>
              <a:gd name="connsiteY70" fmla="*/ 0 h 6858000"/>
              <a:gd name="connsiteX71" fmla="*/ 1493841 w 11648080"/>
              <a:gd name="connsiteY71" fmla="*/ 0 h 6858000"/>
              <a:gd name="connsiteX72" fmla="*/ 1318737 w 11648080"/>
              <a:gd name="connsiteY72" fmla="*/ 70646 h 6858000"/>
              <a:gd name="connsiteX73" fmla="*/ 1036321 w 11648080"/>
              <a:gd name="connsiteY73" fmla="*/ 194312 h 6858000"/>
              <a:gd name="connsiteX74" fmla="*/ 130672 w 11648080"/>
              <a:gd name="connsiteY74" fmla="*/ 671514 h 6858000"/>
              <a:gd name="connsiteX75" fmla="*/ 0 w 11648080"/>
              <a:gd name="connsiteY75" fmla="*/ 747683 h 6858000"/>
              <a:gd name="connsiteX76" fmla="*/ 0 w 11648080"/>
              <a:gd name="connsiteY76" fmla="*/ 747682 h 6858000"/>
              <a:gd name="connsiteX77" fmla="*/ 130672 w 11648080"/>
              <a:gd name="connsiteY77" fmla="*/ 671513 h 6858000"/>
              <a:gd name="connsiteX78" fmla="*/ 1036321 w 11648080"/>
              <a:gd name="connsiteY78" fmla="*/ 194310 h 6858000"/>
              <a:gd name="connsiteX79" fmla="*/ 1318737 w 11648080"/>
              <a:gd name="connsiteY79" fmla="*/ 70644 h 6858000"/>
              <a:gd name="connsiteX80" fmla="*/ 1493836 w 11648080"/>
              <a:gd name="connsiteY80" fmla="*/ 0 h 6858000"/>
              <a:gd name="connsiteX0" fmla="*/ 11648080 w 11648080"/>
              <a:gd name="connsiteY0" fmla="*/ 2146495 h 6858000"/>
              <a:gd name="connsiteX1" fmla="*/ 11629346 w 11648080"/>
              <a:gd name="connsiteY1" fmla="*/ 2112520 h 6858000"/>
              <a:gd name="connsiteX2" fmla="*/ 11648080 w 11648080"/>
              <a:gd name="connsiteY2" fmla="*/ 2146495 h 6858000"/>
              <a:gd name="connsiteX3" fmla="*/ 11494204 w 11648080"/>
              <a:gd name="connsiteY3" fmla="*/ 1905523 h 6858000"/>
              <a:gd name="connsiteX4" fmla="*/ 11523841 w 11648080"/>
              <a:gd name="connsiteY4" fmla="*/ 1945872 h 6858000"/>
              <a:gd name="connsiteX5" fmla="*/ 11550310 w 11648080"/>
              <a:gd name="connsiteY5" fmla="*/ 1987681 h 6858000"/>
              <a:gd name="connsiteX6" fmla="*/ 11494204 w 11648080"/>
              <a:gd name="connsiteY6" fmla="*/ 1905523 h 6858000"/>
              <a:gd name="connsiteX7" fmla="*/ 11326061 w 11648080"/>
              <a:gd name="connsiteY7" fmla="*/ 1692532 h 6858000"/>
              <a:gd name="connsiteX8" fmla="*/ 11406282 w 11648080"/>
              <a:gd name="connsiteY8" fmla="*/ 1785822 h 6858000"/>
              <a:gd name="connsiteX9" fmla="*/ 11420409 w 11648080"/>
              <a:gd name="connsiteY9" fmla="*/ 1805055 h 6858000"/>
              <a:gd name="connsiteX10" fmla="*/ 11326061 w 11648080"/>
              <a:gd name="connsiteY10" fmla="*/ 1692532 h 6858000"/>
              <a:gd name="connsiteX11" fmla="*/ 10829453 w 11648080"/>
              <a:gd name="connsiteY11" fmla="*/ 1199865 h 6858000"/>
              <a:gd name="connsiteX12" fmla="*/ 10830227 w 11648080"/>
              <a:gd name="connsiteY12" fmla="*/ 1200518 h 6858000"/>
              <a:gd name="connsiteX13" fmla="*/ 10836860 w 11648080"/>
              <a:gd name="connsiteY13" fmla="*/ 1206669 h 6858000"/>
              <a:gd name="connsiteX14" fmla="*/ 10829453 w 11648080"/>
              <a:gd name="connsiteY14" fmla="*/ 1199865 h 6858000"/>
              <a:gd name="connsiteX15" fmla="*/ 10586019 w 11648080"/>
              <a:gd name="connsiteY15" fmla="*/ 995058 h 6858000"/>
              <a:gd name="connsiteX16" fmla="*/ 10594661 w 11648080"/>
              <a:gd name="connsiteY16" fmla="*/ 1001698 h 6858000"/>
              <a:gd name="connsiteX17" fmla="*/ 10635916 w 11648080"/>
              <a:gd name="connsiteY17" fmla="*/ 1036517 h 6858000"/>
              <a:gd name="connsiteX18" fmla="*/ 10586019 w 11648080"/>
              <a:gd name="connsiteY18" fmla="*/ 995058 h 6858000"/>
              <a:gd name="connsiteX19" fmla="*/ 10333954 w 11648080"/>
              <a:gd name="connsiteY19" fmla="*/ 802539 h 6858000"/>
              <a:gd name="connsiteX20" fmla="*/ 10350933 w 11648080"/>
              <a:gd name="connsiteY20" fmla="*/ 814415 h 6858000"/>
              <a:gd name="connsiteX21" fmla="*/ 10404349 w 11648080"/>
              <a:gd name="connsiteY21" fmla="*/ 855460 h 6858000"/>
              <a:gd name="connsiteX22" fmla="*/ 10333954 w 11648080"/>
              <a:gd name="connsiteY22" fmla="*/ 802539 h 6858000"/>
              <a:gd name="connsiteX23" fmla="*/ 10157163 w 11648080"/>
              <a:gd name="connsiteY23" fmla="*/ 678888 h 6858000"/>
              <a:gd name="connsiteX24" fmla="*/ 10099498 w 11648080"/>
              <a:gd name="connsiteY24" fmla="*/ 638556 h 6858000"/>
              <a:gd name="connsiteX25" fmla="*/ 10157163 w 11648080"/>
              <a:gd name="connsiteY25" fmla="*/ 678888 h 6858000"/>
              <a:gd name="connsiteX26" fmla="*/ 5416523 w 11648080"/>
              <a:gd name="connsiteY26" fmla="*/ 392344 h 6858000"/>
              <a:gd name="connsiteX27" fmla="*/ 7023101 w 11648080"/>
              <a:gd name="connsiteY27" fmla="*/ 661672 h 6858000"/>
              <a:gd name="connsiteX28" fmla="*/ 9331960 w 11648080"/>
              <a:gd name="connsiteY28" fmla="*/ 2457451 h 6858000"/>
              <a:gd name="connsiteX29" fmla="*/ 10982484 w 11648080"/>
              <a:gd name="connsiteY29" fmla="*/ 4320382 h 6858000"/>
              <a:gd name="connsiteX30" fmla="*/ 11046723 w 11648080"/>
              <a:gd name="connsiteY30" fmla="*/ 4399855 h 6858000"/>
              <a:gd name="connsiteX31" fmla="*/ 10950686 w 11648080"/>
              <a:gd name="connsiteY31" fmla="*/ 4415959 h 6858000"/>
              <a:gd name="connsiteX32" fmla="*/ 9269729 w 11648080"/>
              <a:gd name="connsiteY32" fmla="*/ 5092699 h 6858000"/>
              <a:gd name="connsiteX33" fmla="*/ 8111807 w 11648080"/>
              <a:gd name="connsiteY33" fmla="*/ 6820535 h 6858000"/>
              <a:gd name="connsiteX34" fmla="*/ 8096827 w 11648080"/>
              <a:gd name="connsiteY34" fmla="*/ 6858000 h 6858000"/>
              <a:gd name="connsiteX35" fmla="*/ 0 w 11648080"/>
              <a:gd name="connsiteY35" fmla="*/ 6858000 h 6858000"/>
              <a:gd name="connsiteX36" fmla="*/ 0 w 11648080"/>
              <a:gd name="connsiteY36" fmla="*/ 1312476 h 6858000"/>
              <a:gd name="connsiteX37" fmla="*/ 393384 w 11648080"/>
              <a:gd name="connsiteY37" fmla="*/ 1170010 h 6858000"/>
              <a:gd name="connsiteX38" fmla="*/ 1790701 w 11648080"/>
              <a:gd name="connsiteY38" fmla="*/ 836932 h 6858000"/>
              <a:gd name="connsiteX39" fmla="*/ 5416523 w 11648080"/>
              <a:gd name="connsiteY39" fmla="*/ 392344 h 6858000"/>
              <a:gd name="connsiteX40" fmla="*/ 7788060 w 11648080"/>
              <a:gd name="connsiteY40" fmla="*/ 373174 h 6858000"/>
              <a:gd name="connsiteX41" fmla="*/ 7951989 w 11648080"/>
              <a:gd name="connsiteY41" fmla="*/ 496695 h 6858000"/>
              <a:gd name="connsiteX42" fmla="*/ 8131809 w 11648080"/>
              <a:gd name="connsiteY42" fmla="*/ 618490 h 6858000"/>
              <a:gd name="connsiteX43" fmla="*/ 10486389 w 11648080"/>
              <a:gd name="connsiteY43" fmla="*/ 1795780 h 6858000"/>
              <a:gd name="connsiteX44" fmla="*/ 10759439 w 11648080"/>
              <a:gd name="connsiteY44" fmla="*/ 1939290 h 6858000"/>
              <a:gd name="connsiteX45" fmla="*/ 11288712 w 11648080"/>
              <a:gd name="connsiteY45" fmla="*/ 2224564 h 6858000"/>
              <a:gd name="connsiteX46" fmla="*/ 11288712 w 11648080"/>
              <a:gd name="connsiteY46" fmla="*/ 2224565 h 6858000"/>
              <a:gd name="connsiteX47" fmla="*/ 10759440 w 11648080"/>
              <a:gd name="connsiteY47" fmla="*/ 1939291 h 6858000"/>
              <a:gd name="connsiteX48" fmla="*/ 10486390 w 11648080"/>
              <a:gd name="connsiteY48" fmla="*/ 1795782 h 6858000"/>
              <a:gd name="connsiteX49" fmla="*/ 8131810 w 11648080"/>
              <a:gd name="connsiteY49" fmla="*/ 619761 h 6858000"/>
              <a:gd name="connsiteX50" fmla="*/ 7927023 w 11648080"/>
              <a:gd name="connsiteY50" fmla="*/ 479920 h 6858000"/>
              <a:gd name="connsiteX51" fmla="*/ 7788060 w 11648080"/>
              <a:gd name="connsiteY51" fmla="*/ 373174 h 6858000"/>
              <a:gd name="connsiteX52" fmla="*/ 7778945 w 11648080"/>
              <a:gd name="connsiteY52" fmla="*/ 366172 h 6858000"/>
              <a:gd name="connsiteX53" fmla="*/ 7788060 w 11648080"/>
              <a:gd name="connsiteY53" fmla="*/ 373174 h 6858000"/>
              <a:gd name="connsiteX54" fmla="*/ 7780464 w 11648080"/>
              <a:gd name="connsiteY54" fmla="*/ 367450 h 6858000"/>
              <a:gd name="connsiteX55" fmla="*/ 7778945 w 11648080"/>
              <a:gd name="connsiteY55" fmla="*/ 366172 h 6858000"/>
              <a:gd name="connsiteX56" fmla="*/ 7544713 w 11648080"/>
              <a:gd name="connsiteY56" fmla="*/ 169063 h 6858000"/>
              <a:gd name="connsiteX57" fmla="*/ 7778945 w 11648080"/>
              <a:gd name="connsiteY57" fmla="*/ 366172 h 6858000"/>
              <a:gd name="connsiteX58" fmla="*/ 7732713 w 11648080"/>
              <a:gd name="connsiteY58" fmla="*/ 330658 h 6858000"/>
              <a:gd name="connsiteX59" fmla="*/ 7544713 w 11648080"/>
              <a:gd name="connsiteY59" fmla="*/ 169063 h 6858000"/>
              <a:gd name="connsiteX60" fmla="*/ 7414333 w 11648080"/>
              <a:gd name="connsiteY60" fmla="*/ 56995 h 6858000"/>
              <a:gd name="connsiteX61" fmla="*/ 7544713 w 11648080"/>
              <a:gd name="connsiteY61" fmla="*/ 169063 h 6858000"/>
              <a:gd name="connsiteX62" fmla="*/ 7454642 w 11648080"/>
              <a:gd name="connsiteY62" fmla="*/ 93267 h 6858000"/>
              <a:gd name="connsiteX63" fmla="*/ 7414333 w 11648080"/>
              <a:gd name="connsiteY63" fmla="*/ 56995 h 6858000"/>
              <a:gd name="connsiteX64" fmla="*/ 7348739 w 11648080"/>
              <a:gd name="connsiteY64" fmla="*/ 0 h 6858000"/>
              <a:gd name="connsiteX65" fmla="*/ 7350996 w 11648080"/>
              <a:gd name="connsiteY65" fmla="*/ 0 h 6858000"/>
              <a:gd name="connsiteX66" fmla="*/ 7414333 w 11648080"/>
              <a:gd name="connsiteY66" fmla="*/ 56995 h 6858000"/>
              <a:gd name="connsiteX67" fmla="*/ 7364096 w 11648080"/>
              <a:gd name="connsiteY67" fmla="*/ 13813 h 6858000"/>
              <a:gd name="connsiteX68" fmla="*/ 7348739 w 11648080"/>
              <a:gd name="connsiteY68" fmla="*/ 0 h 6858000"/>
              <a:gd name="connsiteX69" fmla="*/ 1493836 w 11648080"/>
              <a:gd name="connsiteY69" fmla="*/ 0 h 6858000"/>
              <a:gd name="connsiteX70" fmla="*/ 1493841 w 11648080"/>
              <a:gd name="connsiteY70" fmla="*/ 0 h 6858000"/>
              <a:gd name="connsiteX71" fmla="*/ 1318737 w 11648080"/>
              <a:gd name="connsiteY71" fmla="*/ 70646 h 6858000"/>
              <a:gd name="connsiteX72" fmla="*/ 1036321 w 11648080"/>
              <a:gd name="connsiteY72" fmla="*/ 194312 h 6858000"/>
              <a:gd name="connsiteX73" fmla="*/ 130672 w 11648080"/>
              <a:gd name="connsiteY73" fmla="*/ 671514 h 6858000"/>
              <a:gd name="connsiteX74" fmla="*/ 0 w 11648080"/>
              <a:gd name="connsiteY74" fmla="*/ 747683 h 6858000"/>
              <a:gd name="connsiteX75" fmla="*/ 0 w 11648080"/>
              <a:gd name="connsiteY75" fmla="*/ 747682 h 6858000"/>
              <a:gd name="connsiteX76" fmla="*/ 130672 w 11648080"/>
              <a:gd name="connsiteY76" fmla="*/ 671513 h 6858000"/>
              <a:gd name="connsiteX77" fmla="*/ 1036321 w 11648080"/>
              <a:gd name="connsiteY77" fmla="*/ 194310 h 6858000"/>
              <a:gd name="connsiteX78" fmla="*/ 1318737 w 11648080"/>
              <a:gd name="connsiteY78" fmla="*/ 70644 h 6858000"/>
              <a:gd name="connsiteX79" fmla="*/ 1493836 w 11648080"/>
              <a:gd name="connsiteY79" fmla="*/ 0 h 6858000"/>
              <a:gd name="connsiteX0" fmla="*/ 11648080 w 11648080"/>
              <a:gd name="connsiteY0" fmla="*/ 2146495 h 6858000"/>
              <a:gd name="connsiteX1" fmla="*/ 11629346 w 11648080"/>
              <a:gd name="connsiteY1" fmla="*/ 2112520 h 6858000"/>
              <a:gd name="connsiteX2" fmla="*/ 11648080 w 11648080"/>
              <a:gd name="connsiteY2" fmla="*/ 2146495 h 6858000"/>
              <a:gd name="connsiteX3" fmla="*/ 11494204 w 11648080"/>
              <a:gd name="connsiteY3" fmla="*/ 1905523 h 6858000"/>
              <a:gd name="connsiteX4" fmla="*/ 11523841 w 11648080"/>
              <a:gd name="connsiteY4" fmla="*/ 1945872 h 6858000"/>
              <a:gd name="connsiteX5" fmla="*/ 11550310 w 11648080"/>
              <a:gd name="connsiteY5" fmla="*/ 1987681 h 6858000"/>
              <a:gd name="connsiteX6" fmla="*/ 11494204 w 11648080"/>
              <a:gd name="connsiteY6" fmla="*/ 1905523 h 6858000"/>
              <a:gd name="connsiteX7" fmla="*/ 11326061 w 11648080"/>
              <a:gd name="connsiteY7" fmla="*/ 1692532 h 6858000"/>
              <a:gd name="connsiteX8" fmla="*/ 11406282 w 11648080"/>
              <a:gd name="connsiteY8" fmla="*/ 1785822 h 6858000"/>
              <a:gd name="connsiteX9" fmla="*/ 11420409 w 11648080"/>
              <a:gd name="connsiteY9" fmla="*/ 1805055 h 6858000"/>
              <a:gd name="connsiteX10" fmla="*/ 11326061 w 11648080"/>
              <a:gd name="connsiteY10" fmla="*/ 1692532 h 6858000"/>
              <a:gd name="connsiteX11" fmla="*/ 10829453 w 11648080"/>
              <a:gd name="connsiteY11" fmla="*/ 1199865 h 6858000"/>
              <a:gd name="connsiteX12" fmla="*/ 10830227 w 11648080"/>
              <a:gd name="connsiteY12" fmla="*/ 1200518 h 6858000"/>
              <a:gd name="connsiteX13" fmla="*/ 10836860 w 11648080"/>
              <a:gd name="connsiteY13" fmla="*/ 1206669 h 6858000"/>
              <a:gd name="connsiteX14" fmla="*/ 10829453 w 11648080"/>
              <a:gd name="connsiteY14" fmla="*/ 1199865 h 6858000"/>
              <a:gd name="connsiteX15" fmla="*/ 10586019 w 11648080"/>
              <a:gd name="connsiteY15" fmla="*/ 995058 h 6858000"/>
              <a:gd name="connsiteX16" fmla="*/ 10594661 w 11648080"/>
              <a:gd name="connsiteY16" fmla="*/ 1001698 h 6858000"/>
              <a:gd name="connsiteX17" fmla="*/ 10635916 w 11648080"/>
              <a:gd name="connsiteY17" fmla="*/ 1036517 h 6858000"/>
              <a:gd name="connsiteX18" fmla="*/ 10586019 w 11648080"/>
              <a:gd name="connsiteY18" fmla="*/ 995058 h 6858000"/>
              <a:gd name="connsiteX19" fmla="*/ 10333954 w 11648080"/>
              <a:gd name="connsiteY19" fmla="*/ 802539 h 6858000"/>
              <a:gd name="connsiteX20" fmla="*/ 10350933 w 11648080"/>
              <a:gd name="connsiteY20" fmla="*/ 814415 h 6858000"/>
              <a:gd name="connsiteX21" fmla="*/ 10404349 w 11648080"/>
              <a:gd name="connsiteY21" fmla="*/ 855460 h 6858000"/>
              <a:gd name="connsiteX22" fmla="*/ 10333954 w 11648080"/>
              <a:gd name="connsiteY22" fmla="*/ 802539 h 6858000"/>
              <a:gd name="connsiteX23" fmla="*/ 10157163 w 11648080"/>
              <a:gd name="connsiteY23" fmla="*/ 678888 h 6858000"/>
              <a:gd name="connsiteX24" fmla="*/ 10099498 w 11648080"/>
              <a:gd name="connsiteY24" fmla="*/ 638556 h 6858000"/>
              <a:gd name="connsiteX25" fmla="*/ 10157163 w 11648080"/>
              <a:gd name="connsiteY25" fmla="*/ 678888 h 6858000"/>
              <a:gd name="connsiteX26" fmla="*/ 5416523 w 11648080"/>
              <a:gd name="connsiteY26" fmla="*/ 392344 h 6858000"/>
              <a:gd name="connsiteX27" fmla="*/ 7023101 w 11648080"/>
              <a:gd name="connsiteY27" fmla="*/ 661672 h 6858000"/>
              <a:gd name="connsiteX28" fmla="*/ 9331960 w 11648080"/>
              <a:gd name="connsiteY28" fmla="*/ 2457451 h 6858000"/>
              <a:gd name="connsiteX29" fmla="*/ 10982484 w 11648080"/>
              <a:gd name="connsiteY29" fmla="*/ 4320382 h 6858000"/>
              <a:gd name="connsiteX30" fmla="*/ 11046723 w 11648080"/>
              <a:gd name="connsiteY30" fmla="*/ 4399855 h 6858000"/>
              <a:gd name="connsiteX31" fmla="*/ 10950686 w 11648080"/>
              <a:gd name="connsiteY31" fmla="*/ 4415959 h 6858000"/>
              <a:gd name="connsiteX32" fmla="*/ 9269729 w 11648080"/>
              <a:gd name="connsiteY32" fmla="*/ 5092699 h 6858000"/>
              <a:gd name="connsiteX33" fmla="*/ 8111807 w 11648080"/>
              <a:gd name="connsiteY33" fmla="*/ 6820535 h 6858000"/>
              <a:gd name="connsiteX34" fmla="*/ 8096827 w 11648080"/>
              <a:gd name="connsiteY34" fmla="*/ 6858000 h 6858000"/>
              <a:gd name="connsiteX35" fmla="*/ 0 w 11648080"/>
              <a:gd name="connsiteY35" fmla="*/ 6858000 h 6858000"/>
              <a:gd name="connsiteX36" fmla="*/ 0 w 11648080"/>
              <a:gd name="connsiteY36" fmla="*/ 1312476 h 6858000"/>
              <a:gd name="connsiteX37" fmla="*/ 393384 w 11648080"/>
              <a:gd name="connsiteY37" fmla="*/ 1170010 h 6858000"/>
              <a:gd name="connsiteX38" fmla="*/ 1790701 w 11648080"/>
              <a:gd name="connsiteY38" fmla="*/ 836932 h 6858000"/>
              <a:gd name="connsiteX39" fmla="*/ 5416523 w 11648080"/>
              <a:gd name="connsiteY39" fmla="*/ 392344 h 6858000"/>
              <a:gd name="connsiteX40" fmla="*/ 7788060 w 11648080"/>
              <a:gd name="connsiteY40" fmla="*/ 373174 h 6858000"/>
              <a:gd name="connsiteX41" fmla="*/ 7951989 w 11648080"/>
              <a:gd name="connsiteY41" fmla="*/ 496695 h 6858000"/>
              <a:gd name="connsiteX42" fmla="*/ 8131809 w 11648080"/>
              <a:gd name="connsiteY42" fmla="*/ 618490 h 6858000"/>
              <a:gd name="connsiteX43" fmla="*/ 10486389 w 11648080"/>
              <a:gd name="connsiteY43" fmla="*/ 1795780 h 6858000"/>
              <a:gd name="connsiteX44" fmla="*/ 10759439 w 11648080"/>
              <a:gd name="connsiteY44" fmla="*/ 1939290 h 6858000"/>
              <a:gd name="connsiteX45" fmla="*/ 11288712 w 11648080"/>
              <a:gd name="connsiteY45" fmla="*/ 2224564 h 6858000"/>
              <a:gd name="connsiteX46" fmla="*/ 11288712 w 11648080"/>
              <a:gd name="connsiteY46" fmla="*/ 2224565 h 6858000"/>
              <a:gd name="connsiteX47" fmla="*/ 10486390 w 11648080"/>
              <a:gd name="connsiteY47" fmla="*/ 1795782 h 6858000"/>
              <a:gd name="connsiteX48" fmla="*/ 8131810 w 11648080"/>
              <a:gd name="connsiteY48" fmla="*/ 619761 h 6858000"/>
              <a:gd name="connsiteX49" fmla="*/ 7927023 w 11648080"/>
              <a:gd name="connsiteY49" fmla="*/ 479920 h 6858000"/>
              <a:gd name="connsiteX50" fmla="*/ 7788060 w 11648080"/>
              <a:gd name="connsiteY50" fmla="*/ 373174 h 6858000"/>
              <a:gd name="connsiteX51" fmla="*/ 7778945 w 11648080"/>
              <a:gd name="connsiteY51" fmla="*/ 366172 h 6858000"/>
              <a:gd name="connsiteX52" fmla="*/ 7788060 w 11648080"/>
              <a:gd name="connsiteY52" fmla="*/ 373174 h 6858000"/>
              <a:gd name="connsiteX53" fmla="*/ 7780464 w 11648080"/>
              <a:gd name="connsiteY53" fmla="*/ 367450 h 6858000"/>
              <a:gd name="connsiteX54" fmla="*/ 7778945 w 11648080"/>
              <a:gd name="connsiteY54" fmla="*/ 366172 h 6858000"/>
              <a:gd name="connsiteX55" fmla="*/ 7544713 w 11648080"/>
              <a:gd name="connsiteY55" fmla="*/ 169063 h 6858000"/>
              <a:gd name="connsiteX56" fmla="*/ 7778945 w 11648080"/>
              <a:gd name="connsiteY56" fmla="*/ 366172 h 6858000"/>
              <a:gd name="connsiteX57" fmla="*/ 7732713 w 11648080"/>
              <a:gd name="connsiteY57" fmla="*/ 330658 h 6858000"/>
              <a:gd name="connsiteX58" fmla="*/ 7544713 w 11648080"/>
              <a:gd name="connsiteY58" fmla="*/ 169063 h 6858000"/>
              <a:gd name="connsiteX59" fmla="*/ 7414333 w 11648080"/>
              <a:gd name="connsiteY59" fmla="*/ 56995 h 6858000"/>
              <a:gd name="connsiteX60" fmla="*/ 7544713 w 11648080"/>
              <a:gd name="connsiteY60" fmla="*/ 169063 h 6858000"/>
              <a:gd name="connsiteX61" fmla="*/ 7454642 w 11648080"/>
              <a:gd name="connsiteY61" fmla="*/ 93267 h 6858000"/>
              <a:gd name="connsiteX62" fmla="*/ 7414333 w 11648080"/>
              <a:gd name="connsiteY62" fmla="*/ 56995 h 6858000"/>
              <a:gd name="connsiteX63" fmla="*/ 7348739 w 11648080"/>
              <a:gd name="connsiteY63" fmla="*/ 0 h 6858000"/>
              <a:gd name="connsiteX64" fmla="*/ 7350996 w 11648080"/>
              <a:gd name="connsiteY64" fmla="*/ 0 h 6858000"/>
              <a:gd name="connsiteX65" fmla="*/ 7414333 w 11648080"/>
              <a:gd name="connsiteY65" fmla="*/ 56995 h 6858000"/>
              <a:gd name="connsiteX66" fmla="*/ 7364096 w 11648080"/>
              <a:gd name="connsiteY66" fmla="*/ 13813 h 6858000"/>
              <a:gd name="connsiteX67" fmla="*/ 7348739 w 11648080"/>
              <a:gd name="connsiteY67" fmla="*/ 0 h 6858000"/>
              <a:gd name="connsiteX68" fmla="*/ 1493836 w 11648080"/>
              <a:gd name="connsiteY68" fmla="*/ 0 h 6858000"/>
              <a:gd name="connsiteX69" fmla="*/ 1493841 w 11648080"/>
              <a:gd name="connsiteY69" fmla="*/ 0 h 6858000"/>
              <a:gd name="connsiteX70" fmla="*/ 1318737 w 11648080"/>
              <a:gd name="connsiteY70" fmla="*/ 70646 h 6858000"/>
              <a:gd name="connsiteX71" fmla="*/ 1036321 w 11648080"/>
              <a:gd name="connsiteY71" fmla="*/ 194312 h 6858000"/>
              <a:gd name="connsiteX72" fmla="*/ 130672 w 11648080"/>
              <a:gd name="connsiteY72" fmla="*/ 671514 h 6858000"/>
              <a:gd name="connsiteX73" fmla="*/ 0 w 11648080"/>
              <a:gd name="connsiteY73" fmla="*/ 747683 h 6858000"/>
              <a:gd name="connsiteX74" fmla="*/ 0 w 11648080"/>
              <a:gd name="connsiteY74" fmla="*/ 747682 h 6858000"/>
              <a:gd name="connsiteX75" fmla="*/ 130672 w 11648080"/>
              <a:gd name="connsiteY75" fmla="*/ 671513 h 6858000"/>
              <a:gd name="connsiteX76" fmla="*/ 1036321 w 11648080"/>
              <a:gd name="connsiteY76" fmla="*/ 194310 h 6858000"/>
              <a:gd name="connsiteX77" fmla="*/ 1318737 w 11648080"/>
              <a:gd name="connsiteY77" fmla="*/ 70644 h 6858000"/>
              <a:gd name="connsiteX78" fmla="*/ 1493836 w 11648080"/>
              <a:gd name="connsiteY78" fmla="*/ 0 h 6858000"/>
              <a:gd name="connsiteX0" fmla="*/ 11494204 w 11550310"/>
              <a:gd name="connsiteY0" fmla="*/ 1905523 h 6858000"/>
              <a:gd name="connsiteX1" fmla="*/ 11523841 w 11550310"/>
              <a:gd name="connsiteY1" fmla="*/ 1945872 h 6858000"/>
              <a:gd name="connsiteX2" fmla="*/ 11550310 w 11550310"/>
              <a:gd name="connsiteY2" fmla="*/ 1987681 h 6858000"/>
              <a:gd name="connsiteX3" fmla="*/ 11494204 w 11550310"/>
              <a:gd name="connsiteY3" fmla="*/ 1905523 h 6858000"/>
              <a:gd name="connsiteX4" fmla="*/ 11326061 w 11550310"/>
              <a:gd name="connsiteY4" fmla="*/ 1692532 h 6858000"/>
              <a:gd name="connsiteX5" fmla="*/ 11406282 w 11550310"/>
              <a:gd name="connsiteY5" fmla="*/ 1785822 h 6858000"/>
              <a:gd name="connsiteX6" fmla="*/ 11420409 w 11550310"/>
              <a:gd name="connsiteY6" fmla="*/ 1805055 h 6858000"/>
              <a:gd name="connsiteX7" fmla="*/ 11326061 w 11550310"/>
              <a:gd name="connsiteY7" fmla="*/ 1692532 h 6858000"/>
              <a:gd name="connsiteX8" fmla="*/ 10829453 w 11550310"/>
              <a:gd name="connsiteY8" fmla="*/ 1199865 h 6858000"/>
              <a:gd name="connsiteX9" fmla="*/ 10830227 w 11550310"/>
              <a:gd name="connsiteY9" fmla="*/ 1200518 h 6858000"/>
              <a:gd name="connsiteX10" fmla="*/ 10836860 w 11550310"/>
              <a:gd name="connsiteY10" fmla="*/ 1206669 h 6858000"/>
              <a:gd name="connsiteX11" fmla="*/ 10829453 w 11550310"/>
              <a:gd name="connsiteY11" fmla="*/ 1199865 h 6858000"/>
              <a:gd name="connsiteX12" fmla="*/ 10586019 w 11550310"/>
              <a:gd name="connsiteY12" fmla="*/ 995058 h 6858000"/>
              <a:gd name="connsiteX13" fmla="*/ 10594661 w 11550310"/>
              <a:gd name="connsiteY13" fmla="*/ 1001698 h 6858000"/>
              <a:gd name="connsiteX14" fmla="*/ 10635916 w 11550310"/>
              <a:gd name="connsiteY14" fmla="*/ 1036517 h 6858000"/>
              <a:gd name="connsiteX15" fmla="*/ 10586019 w 11550310"/>
              <a:gd name="connsiteY15" fmla="*/ 995058 h 6858000"/>
              <a:gd name="connsiteX16" fmla="*/ 10333954 w 11550310"/>
              <a:gd name="connsiteY16" fmla="*/ 802539 h 6858000"/>
              <a:gd name="connsiteX17" fmla="*/ 10350933 w 11550310"/>
              <a:gd name="connsiteY17" fmla="*/ 814415 h 6858000"/>
              <a:gd name="connsiteX18" fmla="*/ 10404349 w 11550310"/>
              <a:gd name="connsiteY18" fmla="*/ 855460 h 6858000"/>
              <a:gd name="connsiteX19" fmla="*/ 10333954 w 11550310"/>
              <a:gd name="connsiteY19" fmla="*/ 802539 h 6858000"/>
              <a:gd name="connsiteX20" fmla="*/ 10157163 w 11550310"/>
              <a:gd name="connsiteY20" fmla="*/ 678888 h 6858000"/>
              <a:gd name="connsiteX21" fmla="*/ 10099498 w 11550310"/>
              <a:gd name="connsiteY21" fmla="*/ 638556 h 6858000"/>
              <a:gd name="connsiteX22" fmla="*/ 10157163 w 11550310"/>
              <a:gd name="connsiteY22" fmla="*/ 678888 h 6858000"/>
              <a:gd name="connsiteX23" fmla="*/ 5416523 w 11550310"/>
              <a:gd name="connsiteY23" fmla="*/ 392344 h 6858000"/>
              <a:gd name="connsiteX24" fmla="*/ 7023101 w 11550310"/>
              <a:gd name="connsiteY24" fmla="*/ 661672 h 6858000"/>
              <a:gd name="connsiteX25" fmla="*/ 9331960 w 11550310"/>
              <a:gd name="connsiteY25" fmla="*/ 2457451 h 6858000"/>
              <a:gd name="connsiteX26" fmla="*/ 10982484 w 11550310"/>
              <a:gd name="connsiteY26" fmla="*/ 4320382 h 6858000"/>
              <a:gd name="connsiteX27" fmla="*/ 11046723 w 11550310"/>
              <a:gd name="connsiteY27" fmla="*/ 4399855 h 6858000"/>
              <a:gd name="connsiteX28" fmla="*/ 10950686 w 11550310"/>
              <a:gd name="connsiteY28" fmla="*/ 4415959 h 6858000"/>
              <a:gd name="connsiteX29" fmla="*/ 9269729 w 11550310"/>
              <a:gd name="connsiteY29" fmla="*/ 5092699 h 6858000"/>
              <a:gd name="connsiteX30" fmla="*/ 8111807 w 11550310"/>
              <a:gd name="connsiteY30" fmla="*/ 6820535 h 6858000"/>
              <a:gd name="connsiteX31" fmla="*/ 8096827 w 11550310"/>
              <a:gd name="connsiteY31" fmla="*/ 6858000 h 6858000"/>
              <a:gd name="connsiteX32" fmla="*/ 0 w 11550310"/>
              <a:gd name="connsiteY32" fmla="*/ 6858000 h 6858000"/>
              <a:gd name="connsiteX33" fmla="*/ 0 w 11550310"/>
              <a:gd name="connsiteY33" fmla="*/ 1312476 h 6858000"/>
              <a:gd name="connsiteX34" fmla="*/ 393384 w 11550310"/>
              <a:gd name="connsiteY34" fmla="*/ 1170010 h 6858000"/>
              <a:gd name="connsiteX35" fmla="*/ 1790701 w 11550310"/>
              <a:gd name="connsiteY35" fmla="*/ 836932 h 6858000"/>
              <a:gd name="connsiteX36" fmla="*/ 5416523 w 11550310"/>
              <a:gd name="connsiteY36" fmla="*/ 392344 h 6858000"/>
              <a:gd name="connsiteX37" fmla="*/ 7788060 w 11550310"/>
              <a:gd name="connsiteY37" fmla="*/ 373174 h 6858000"/>
              <a:gd name="connsiteX38" fmla="*/ 7951989 w 11550310"/>
              <a:gd name="connsiteY38" fmla="*/ 496695 h 6858000"/>
              <a:gd name="connsiteX39" fmla="*/ 8131809 w 11550310"/>
              <a:gd name="connsiteY39" fmla="*/ 618490 h 6858000"/>
              <a:gd name="connsiteX40" fmla="*/ 10486389 w 11550310"/>
              <a:gd name="connsiteY40" fmla="*/ 1795780 h 6858000"/>
              <a:gd name="connsiteX41" fmla="*/ 10759439 w 11550310"/>
              <a:gd name="connsiteY41" fmla="*/ 1939290 h 6858000"/>
              <a:gd name="connsiteX42" fmla="*/ 11288712 w 11550310"/>
              <a:gd name="connsiteY42" fmla="*/ 2224564 h 6858000"/>
              <a:gd name="connsiteX43" fmla="*/ 11288712 w 11550310"/>
              <a:gd name="connsiteY43" fmla="*/ 2224565 h 6858000"/>
              <a:gd name="connsiteX44" fmla="*/ 10486390 w 11550310"/>
              <a:gd name="connsiteY44" fmla="*/ 1795782 h 6858000"/>
              <a:gd name="connsiteX45" fmla="*/ 8131810 w 11550310"/>
              <a:gd name="connsiteY45" fmla="*/ 619761 h 6858000"/>
              <a:gd name="connsiteX46" fmla="*/ 7927023 w 11550310"/>
              <a:gd name="connsiteY46" fmla="*/ 479920 h 6858000"/>
              <a:gd name="connsiteX47" fmla="*/ 7788060 w 11550310"/>
              <a:gd name="connsiteY47" fmla="*/ 373174 h 6858000"/>
              <a:gd name="connsiteX48" fmla="*/ 7778945 w 11550310"/>
              <a:gd name="connsiteY48" fmla="*/ 366172 h 6858000"/>
              <a:gd name="connsiteX49" fmla="*/ 7788060 w 11550310"/>
              <a:gd name="connsiteY49" fmla="*/ 373174 h 6858000"/>
              <a:gd name="connsiteX50" fmla="*/ 7780464 w 11550310"/>
              <a:gd name="connsiteY50" fmla="*/ 367450 h 6858000"/>
              <a:gd name="connsiteX51" fmla="*/ 7778945 w 11550310"/>
              <a:gd name="connsiteY51" fmla="*/ 366172 h 6858000"/>
              <a:gd name="connsiteX52" fmla="*/ 7544713 w 11550310"/>
              <a:gd name="connsiteY52" fmla="*/ 169063 h 6858000"/>
              <a:gd name="connsiteX53" fmla="*/ 7778945 w 11550310"/>
              <a:gd name="connsiteY53" fmla="*/ 366172 h 6858000"/>
              <a:gd name="connsiteX54" fmla="*/ 7732713 w 11550310"/>
              <a:gd name="connsiteY54" fmla="*/ 330658 h 6858000"/>
              <a:gd name="connsiteX55" fmla="*/ 7544713 w 11550310"/>
              <a:gd name="connsiteY55" fmla="*/ 169063 h 6858000"/>
              <a:gd name="connsiteX56" fmla="*/ 7414333 w 11550310"/>
              <a:gd name="connsiteY56" fmla="*/ 56995 h 6858000"/>
              <a:gd name="connsiteX57" fmla="*/ 7544713 w 11550310"/>
              <a:gd name="connsiteY57" fmla="*/ 169063 h 6858000"/>
              <a:gd name="connsiteX58" fmla="*/ 7454642 w 11550310"/>
              <a:gd name="connsiteY58" fmla="*/ 93267 h 6858000"/>
              <a:gd name="connsiteX59" fmla="*/ 7414333 w 11550310"/>
              <a:gd name="connsiteY59" fmla="*/ 56995 h 6858000"/>
              <a:gd name="connsiteX60" fmla="*/ 7348739 w 11550310"/>
              <a:gd name="connsiteY60" fmla="*/ 0 h 6858000"/>
              <a:gd name="connsiteX61" fmla="*/ 7350996 w 11550310"/>
              <a:gd name="connsiteY61" fmla="*/ 0 h 6858000"/>
              <a:gd name="connsiteX62" fmla="*/ 7414333 w 11550310"/>
              <a:gd name="connsiteY62" fmla="*/ 56995 h 6858000"/>
              <a:gd name="connsiteX63" fmla="*/ 7364096 w 11550310"/>
              <a:gd name="connsiteY63" fmla="*/ 13813 h 6858000"/>
              <a:gd name="connsiteX64" fmla="*/ 7348739 w 11550310"/>
              <a:gd name="connsiteY64" fmla="*/ 0 h 6858000"/>
              <a:gd name="connsiteX65" fmla="*/ 1493836 w 11550310"/>
              <a:gd name="connsiteY65" fmla="*/ 0 h 6858000"/>
              <a:gd name="connsiteX66" fmla="*/ 1493841 w 11550310"/>
              <a:gd name="connsiteY66" fmla="*/ 0 h 6858000"/>
              <a:gd name="connsiteX67" fmla="*/ 1318737 w 11550310"/>
              <a:gd name="connsiteY67" fmla="*/ 70646 h 6858000"/>
              <a:gd name="connsiteX68" fmla="*/ 1036321 w 11550310"/>
              <a:gd name="connsiteY68" fmla="*/ 194312 h 6858000"/>
              <a:gd name="connsiteX69" fmla="*/ 130672 w 11550310"/>
              <a:gd name="connsiteY69" fmla="*/ 671514 h 6858000"/>
              <a:gd name="connsiteX70" fmla="*/ 0 w 11550310"/>
              <a:gd name="connsiteY70" fmla="*/ 747683 h 6858000"/>
              <a:gd name="connsiteX71" fmla="*/ 0 w 11550310"/>
              <a:gd name="connsiteY71" fmla="*/ 747682 h 6858000"/>
              <a:gd name="connsiteX72" fmla="*/ 130672 w 11550310"/>
              <a:gd name="connsiteY72" fmla="*/ 671513 h 6858000"/>
              <a:gd name="connsiteX73" fmla="*/ 1036321 w 11550310"/>
              <a:gd name="connsiteY73" fmla="*/ 194310 h 6858000"/>
              <a:gd name="connsiteX74" fmla="*/ 1318737 w 11550310"/>
              <a:gd name="connsiteY74" fmla="*/ 70644 h 6858000"/>
              <a:gd name="connsiteX75" fmla="*/ 1493836 w 11550310"/>
              <a:gd name="connsiteY75" fmla="*/ 0 h 6858000"/>
              <a:gd name="connsiteX0" fmla="*/ 11550310 w 11550310"/>
              <a:gd name="connsiteY0" fmla="*/ 1987681 h 6858000"/>
              <a:gd name="connsiteX1" fmla="*/ 11523841 w 11550310"/>
              <a:gd name="connsiteY1" fmla="*/ 1945872 h 6858000"/>
              <a:gd name="connsiteX2" fmla="*/ 11550310 w 11550310"/>
              <a:gd name="connsiteY2" fmla="*/ 1987681 h 6858000"/>
              <a:gd name="connsiteX3" fmla="*/ 11326061 w 11550310"/>
              <a:gd name="connsiteY3" fmla="*/ 1692532 h 6858000"/>
              <a:gd name="connsiteX4" fmla="*/ 11406282 w 11550310"/>
              <a:gd name="connsiteY4" fmla="*/ 1785822 h 6858000"/>
              <a:gd name="connsiteX5" fmla="*/ 11420409 w 11550310"/>
              <a:gd name="connsiteY5" fmla="*/ 1805055 h 6858000"/>
              <a:gd name="connsiteX6" fmla="*/ 11326061 w 11550310"/>
              <a:gd name="connsiteY6" fmla="*/ 1692532 h 6858000"/>
              <a:gd name="connsiteX7" fmla="*/ 10829453 w 11550310"/>
              <a:gd name="connsiteY7" fmla="*/ 1199865 h 6858000"/>
              <a:gd name="connsiteX8" fmla="*/ 10830227 w 11550310"/>
              <a:gd name="connsiteY8" fmla="*/ 1200518 h 6858000"/>
              <a:gd name="connsiteX9" fmla="*/ 10836860 w 11550310"/>
              <a:gd name="connsiteY9" fmla="*/ 1206669 h 6858000"/>
              <a:gd name="connsiteX10" fmla="*/ 10829453 w 11550310"/>
              <a:gd name="connsiteY10" fmla="*/ 1199865 h 6858000"/>
              <a:gd name="connsiteX11" fmla="*/ 10586019 w 11550310"/>
              <a:gd name="connsiteY11" fmla="*/ 995058 h 6858000"/>
              <a:gd name="connsiteX12" fmla="*/ 10594661 w 11550310"/>
              <a:gd name="connsiteY12" fmla="*/ 1001698 h 6858000"/>
              <a:gd name="connsiteX13" fmla="*/ 10635916 w 11550310"/>
              <a:gd name="connsiteY13" fmla="*/ 1036517 h 6858000"/>
              <a:gd name="connsiteX14" fmla="*/ 10586019 w 11550310"/>
              <a:gd name="connsiteY14" fmla="*/ 995058 h 6858000"/>
              <a:gd name="connsiteX15" fmla="*/ 10333954 w 11550310"/>
              <a:gd name="connsiteY15" fmla="*/ 802539 h 6858000"/>
              <a:gd name="connsiteX16" fmla="*/ 10350933 w 11550310"/>
              <a:gd name="connsiteY16" fmla="*/ 814415 h 6858000"/>
              <a:gd name="connsiteX17" fmla="*/ 10404349 w 11550310"/>
              <a:gd name="connsiteY17" fmla="*/ 855460 h 6858000"/>
              <a:gd name="connsiteX18" fmla="*/ 10333954 w 11550310"/>
              <a:gd name="connsiteY18" fmla="*/ 802539 h 6858000"/>
              <a:gd name="connsiteX19" fmla="*/ 10157163 w 11550310"/>
              <a:gd name="connsiteY19" fmla="*/ 678888 h 6858000"/>
              <a:gd name="connsiteX20" fmla="*/ 10099498 w 11550310"/>
              <a:gd name="connsiteY20" fmla="*/ 638556 h 6858000"/>
              <a:gd name="connsiteX21" fmla="*/ 10157163 w 11550310"/>
              <a:gd name="connsiteY21" fmla="*/ 678888 h 6858000"/>
              <a:gd name="connsiteX22" fmla="*/ 5416523 w 11550310"/>
              <a:gd name="connsiteY22" fmla="*/ 392344 h 6858000"/>
              <a:gd name="connsiteX23" fmla="*/ 7023101 w 11550310"/>
              <a:gd name="connsiteY23" fmla="*/ 661672 h 6858000"/>
              <a:gd name="connsiteX24" fmla="*/ 9331960 w 11550310"/>
              <a:gd name="connsiteY24" fmla="*/ 2457451 h 6858000"/>
              <a:gd name="connsiteX25" fmla="*/ 10982484 w 11550310"/>
              <a:gd name="connsiteY25" fmla="*/ 4320382 h 6858000"/>
              <a:gd name="connsiteX26" fmla="*/ 11046723 w 11550310"/>
              <a:gd name="connsiteY26" fmla="*/ 4399855 h 6858000"/>
              <a:gd name="connsiteX27" fmla="*/ 10950686 w 11550310"/>
              <a:gd name="connsiteY27" fmla="*/ 4415959 h 6858000"/>
              <a:gd name="connsiteX28" fmla="*/ 9269729 w 11550310"/>
              <a:gd name="connsiteY28" fmla="*/ 5092699 h 6858000"/>
              <a:gd name="connsiteX29" fmla="*/ 8111807 w 11550310"/>
              <a:gd name="connsiteY29" fmla="*/ 6820535 h 6858000"/>
              <a:gd name="connsiteX30" fmla="*/ 8096827 w 11550310"/>
              <a:gd name="connsiteY30" fmla="*/ 6858000 h 6858000"/>
              <a:gd name="connsiteX31" fmla="*/ 0 w 11550310"/>
              <a:gd name="connsiteY31" fmla="*/ 6858000 h 6858000"/>
              <a:gd name="connsiteX32" fmla="*/ 0 w 11550310"/>
              <a:gd name="connsiteY32" fmla="*/ 1312476 h 6858000"/>
              <a:gd name="connsiteX33" fmla="*/ 393384 w 11550310"/>
              <a:gd name="connsiteY33" fmla="*/ 1170010 h 6858000"/>
              <a:gd name="connsiteX34" fmla="*/ 1790701 w 11550310"/>
              <a:gd name="connsiteY34" fmla="*/ 836932 h 6858000"/>
              <a:gd name="connsiteX35" fmla="*/ 5416523 w 11550310"/>
              <a:gd name="connsiteY35" fmla="*/ 392344 h 6858000"/>
              <a:gd name="connsiteX36" fmla="*/ 7788060 w 11550310"/>
              <a:gd name="connsiteY36" fmla="*/ 373174 h 6858000"/>
              <a:gd name="connsiteX37" fmla="*/ 7951989 w 11550310"/>
              <a:gd name="connsiteY37" fmla="*/ 496695 h 6858000"/>
              <a:gd name="connsiteX38" fmla="*/ 8131809 w 11550310"/>
              <a:gd name="connsiteY38" fmla="*/ 618490 h 6858000"/>
              <a:gd name="connsiteX39" fmla="*/ 10486389 w 11550310"/>
              <a:gd name="connsiteY39" fmla="*/ 1795780 h 6858000"/>
              <a:gd name="connsiteX40" fmla="*/ 10759439 w 11550310"/>
              <a:gd name="connsiteY40" fmla="*/ 1939290 h 6858000"/>
              <a:gd name="connsiteX41" fmla="*/ 11288712 w 11550310"/>
              <a:gd name="connsiteY41" fmla="*/ 2224564 h 6858000"/>
              <a:gd name="connsiteX42" fmla="*/ 11288712 w 11550310"/>
              <a:gd name="connsiteY42" fmla="*/ 2224565 h 6858000"/>
              <a:gd name="connsiteX43" fmla="*/ 10486390 w 11550310"/>
              <a:gd name="connsiteY43" fmla="*/ 1795782 h 6858000"/>
              <a:gd name="connsiteX44" fmla="*/ 8131810 w 11550310"/>
              <a:gd name="connsiteY44" fmla="*/ 619761 h 6858000"/>
              <a:gd name="connsiteX45" fmla="*/ 7927023 w 11550310"/>
              <a:gd name="connsiteY45" fmla="*/ 479920 h 6858000"/>
              <a:gd name="connsiteX46" fmla="*/ 7788060 w 11550310"/>
              <a:gd name="connsiteY46" fmla="*/ 373174 h 6858000"/>
              <a:gd name="connsiteX47" fmla="*/ 7778945 w 11550310"/>
              <a:gd name="connsiteY47" fmla="*/ 366172 h 6858000"/>
              <a:gd name="connsiteX48" fmla="*/ 7788060 w 11550310"/>
              <a:gd name="connsiteY48" fmla="*/ 373174 h 6858000"/>
              <a:gd name="connsiteX49" fmla="*/ 7780464 w 11550310"/>
              <a:gd name="connsiteY49" fmla="*/ 367450 h 6858000"/>
              <a:gd name="connsiteX50" fmla="*/ 7778945 w 11550310"/>
              <a:gd name="connsiteY50" fmla="*/ 366172 h 6858000"/>
              <a:gd name="connsiteX51" fmla="*/ 7544713 w 11550310"/>
              <a:gd name="connsiteY51" fmla="*/ 169063 h 6858000"/>
              <a:gd name="connsiteX52" fmla="*/ 7778945 w 11550310"/>
              <a:gd name="connsiteY52" fmla="*/ 366172 h 6858000"/>
              <a:gd name="connsiteX53" fmla="*/ 7732713 w 11550310"/>
              <a:gd name="connsiteY53" fmla="*/ 330658 h 6858000"/>
              <a:gd name="connsiteX54" fmla="*/ 7544713 w 11550310"/>
              <a:gd name="connsiteY54" fmla="*/ 169063 h 6858000"/>
              <a:gd name="connsiteX55" fmla="*/ 7414333 w 11550310"/>
              <a:gd name="connsiteY55" fmla="*/ 56995 h 6858000"/>
              <a:gd name="connsiteX56" fmla="*/ 7544713 w 11550310"/>
              <a:gd name="connsiteY56" fmla="*/ 169063 h 6858000"/>
              <a:gd name="connsiteX57" fmla="*/ 7454642 w 11550310"/>
              <a:gd name="connsiteY57" fmla="*/ 93267 h 6858000"/>
              <a:gd name="connsiteX58" fmla="*/ 7414333 w 11550310"/>
              <a:gd name="connsiteY58" fmla="*/ 56995 h 6858000"/>
              <a:gd name="connsiteX59" fmla="*/ 7348739 w 11550310"/>
              <a:gd name="connsiteY59" fmla="*/ 0 h 6858000"/>
              <a:gd name="connsiteX60" fmla="*/ 7350996 w 11550310"/>
              <a:gd name="connsiteY60" fmla="*/ 0 h 6858000"/>
              <a:gd name="connsiteX61" fmla="*/ 7414333 w 11550310"/>
              <a:gd name="connsiteY61" fmla="*/ 56995 h 6858000"/>
              <a:gd name="connsiteX62" fmla="*/ 7364096 w 11550310"/>
              <a:gd name="connsiteY62" fmla="*/ 13813 h 6858000"/>
              <a:gd name="connsiteX63" fmla="*/ 7348739 w 11550310"/>
              <a:gd name="connsiteY63" fmla="*/ 0 h 6858000"/>
              <a:gd name="connsiteX64" fmla="*/ 1493836 w 11550310"/>
              <a:gd name="connsiteY64" fmla="*/ 0 h 6858000"/>
              <a:gd name="connsiteX65" fmla="*/ 1493841 w 11550310"/>
              <a:gd name="connsiteY65" fmla="*/ 0 h 6858000"/>
              <a:gd name="connsiteX66" fmla="*/ 1318737 w 11550310"/>
              <a:gd name="connsiteY66" fmla="*/ 70646 h 6858000"/>
              <a:gd name="connsiteX67" fmla="*/ 1036321 w 11550310"/>
              <a:gd name="connsiteY67" fmla="*/ 194312 h 6858000"/>
              <a:gd name="connsiteX68" fmla="*/ 130672 w 11550310"/>
              <a:gd name="connsiteY68" fmla="*/ 671514 h 6858000"/>
              <a:gd name="connsiteX69" fmla="*/ 0 w 11550310"/>
              <a:gd name="connsiteY69" fmla="*/ 747683 h 6858000"/>
              <a:gd name="connsiteX70" fmla="*/ 0 w 11550310"/>
              <a:gd name="connsiteY70" fmla="*/ 747682 h 6858000"/>
              <a:gd name="connsiteX71" fmla="*/ 130672 w 11550310"/>
              <a:gd name="connsiteY71" fmla="*/ 671513 h 6858000"/>
              <a:gd name="connsiteX72" fmla="*/ 1036321 w 11550310"/>
              <a:gd name="connsiteY72" fmla="*/ 194310 h 6858000"/>
              <a:gd name="connsiteX73" fmla="*/ 1318737 w 11550310"/>
              <a:gd name="connsiteY73" fmla="*/ 70644 h 6858000"/>
              <a:gd name="connsiteX74" fmla="*/ 1493836 w 11550310"/>
              <a:gd name="connsiteY74" fmla="*/ 0 h 6858000"/>
              <a:gd name="connsiteX0" fmla="*/ 11326061 w 11420409"/>
              <a:gd name="connsiteY0" fmla="*/ 1692532 h 6858000"/>
              <a:gd name="connsiteX1" fmla="*/ 11406282 w 11420409"/>
              <a:gd name="connsiteY1" fmla="*/ 1785822 h 6858000"/>
              <a:gd name="connsiteX2" fmla="*/ 11420409 w 11420409"/>
              <a:gd name="connsiteY2" fmla="*/ 1805055 h 6858000"/>
              <a:gd name="connsiteX3" fmla="*/ 11326061 w 11420409"/>
              <a:gd name="connsiteY3" fmla="*/ 1692532 h 6858000"/>
              <a:gd name="connsiteX4" fmla="*/ 10829453 w 11420409"/>
              <a:gd name="connsiteY4" fmla="*/ 1199865 h 6858000"/>
              <a:gd name="connsiteX5" fmla="*/ 10830227 w 11420409"/>
              <a:gd name="connsiteY5" fmla="*/ 1200518 h 6858000"/>
              <a:gd name="connsiteX6" fmla="*/ 10836860 w 11420409"/>
              <a:gd name="connsiteY6" fmla="*/ 1206669 h 6858000"/>
              <a:gd name="connsiteX7" fmla="*/ 10829453 w 11420409"/>
              <a:gd name="connsiteY7" fmla="*/ 1199865 h 6858000"/>
              <a:gd name="connsiteX8" fmla="*/ 10586019 w 11420409"/>
              <a:gd name="connsiteY8" fmla="*/ 995058 h 6858000"/>
              <a:gd name="connsiteX9" fmla="*/ 10594661 w 11420409"/>
              <a:gd name="connsiteY9" fmla="*/ 1001698 h 6858000"/>
              <a:gd name="connsiteX10" fmla="*/ 10635916 w 11420409"/>
              <a:gd name="connsiteY10" fmla="*/ 1036517 h 6858000"/>
              <a:gd name="connsiteX11" fmla="*/ 10586019 w 11420409"/>
              <a:gd name="connsiteY11" fmla="*/ 995058 h 6858000"/>
              <a:gd name="connsiteX12" fmla="*/ 10333954 w 11420409"/>
              <a:gd name="connsiteY12" fmla="*/ 802539 h 6858000"/>
              <a:gd name="connsiteX13" fmla="*/ 10350933 w 11420409"/>
              <a:gd name="connsiteY13" fmla="*/ 814415 h 6858000"/>
              <a:gd name="connsiteX14" fmla="*/ 10404349 w 11420409"/>
              <a:gd name="connsiteY14" fmla="*/ 855460 h 6858000"/>
              <a:gd name="connsiteX15" fmla="*/ 10333954 w 11420409"/>
              <a:gd name="connsiteY15" fmla="*/ 802539 h 6858000"/>
              <a:gd name="connsiteX16" fmla="*/ 10157163 w 11420409"/>
              <a:gd name="connsiteY16" fmla="*/ 678888 h 6858000"/>
              <a:gd name="connsiteX17" fmla="*/ 10099498 w 11420409"/>
              <a:gd name="connsiteY17" fmla="*/ 638556 h 6858000"/>
              <a:gd name="connsiteX18" fmla="*/ 10157163 w 11420409"/>
              <a:gd name="connsiteY18" fmla="*/ 678888 h 6858000"/>
              <a:gd name="connsiteX19" fmla="*/ 5416523 w 11420409"/>
              <a:gd name="connsiteY19" fmla="*/ 392344 h 6858000"/>
              <a:gd name="connsiteX20" fmla="*/ 7023101 w 11420409"/>
              <a:gd name="connsiteY20" fmla="*/ 661672 h 6858000"/>
              <a:gd name="connsiteX21" fmla="*/ 9331960 w 11420409"/>
              <a:gd name="connsiteY21" fmla="*/ 2457451 h 6858000"/>
              <a:gd name="connsiteX22" fmla="*/ 10982484 w 11420409"/>
              <a:gd name="connsiteY22" fmla="*/ 4320382 h 6858000"/>
              <a:gd name="connsiteX23" fmla="*/ 11046723 w 11420409"/>
              <a:gd name="connsiteY23" fmla="*/ 4399855 h 6858000"/>
              <a:gd name="connsiteX24" fmla="*/ 10950686 w 11420409"/>
              <a:gd name="connsiteY24" fmla="*/ 4415959 h 6858000"/>
              <a:gd name="connsiteX25" fmla="*/ 9269729 w 11420409"/>
              <a:gd name="connsiteY25" fmla="*/ 5092699 h 6858000"/>
              <a:gd name="connsiteX26" fmla="*/ 8111807 w 11420409"/>
              <a:gd name="connsiteY26" fmla="*/ 6820535 h 6858000"/>
              <a:gd name="connsiteX27" fmla="*/ 8096827 w 11420409"/>
              <a:gd name="connsiteY27" fmla="*/ 6858000 h 6858000"/>
              <a:gd name="connsiteX28" fmla="*/ 0 w 11420409"/>
              <a:gd name="connsiteY28" fmla="*/ 6858000 h 6858000"/>
              <a:gd name="connsiteX29" fmla="*/ 0 w 11420409"/>
              <a:gd name="connsiteY29" fmla="*/ 1312476 h 6858000"/>
              <a:gd name="connsiteX30" fmla="*/ 393384 w 11420409"/>
              <a:gd name="connsiteY30" fmla="*/ 1170010 h 6858000"/>
              <a:gd name="connsiteX31" fmla="*/ 1790701 w 11420409"/>
              <a:gd name="connsiteY31" fmla="*/ 836932 h 6858000"/>
              <a:gd name="connsiteX32" fmla="*/ 5416523 w 11420409"/>
              <a:gd name="connsiteY32" fmla="*/ 392344 h 6858000"/>
              <a:gd name="connsiteX33" fmla="*/ 7788060 w 11420409"/>
              <a:gd name="connsiteY33" fmla="*/ 373174 h 6858000"/>
              <a:gd name="connsiteX34" fmla="*/ 7951989 w 11420409"/>
              <a:gd name="connsiteY34" fmla="*/ 496695 h 6858000"/>
              <a:gd name="connsiteX35" fmla="*/ 8131809 w 11420409"/>
              <a:gd name="connsiteY35" fmla="*/ 618490 h 6858000"/>
              <a:gd name="connsiteX36" fmla="*/ 10486389 w 11420409"/>
              <a:gd name="connsiteY36" fmla="*/ 1795780 h 6858000"/>
              <a:gd name="connsiteX37" fmla="*/ 10759439 w 11420409"/>
              <a:gd name="connsiteY37" fmla="*/ 1939290 h 6858000"/>
              <a:gd name="connsiteX38" fmla="*/ 11288712 w 11420409"/>
              <a:gd name="connsiteY38" fmla="*/ 2224564 h 6858000"/>
              <a:gd name="connsiteX39" fmla="*/ 11288712 w 11420409"/>
              <a:gd name="connsiteY39" fmla="*/ 2224565 h 6858000"/>
              <a:gd name="connsiteX40" fmla="*/ 10486390 w 11420409"/>
              <a:gd name="connsiteY40" fmla="*/ 1795782 h 6858000"/>
              <a:gd name="connsiteX41" fmla="*/ 8131810 w 11420409"/>
              <a:gd name="connsiteY41" fmla="*/ 619761 h 6858000"/>
              <a:gd name="connsiteX42" fmla="*/ 7927023 w 11420409"/>
              <a:gd name="connsiteY42" fmla="*/ 479920 h 6858000"/>
              <a:gd name="connsiteX43" fmla="*/ 7788060 w 11420409"/>
              <a:gd name="connsiteY43" fmla="*/ 373174 h 6858000"/>
              <a:gd name="connsiteX44" fmla="*/ 7778945 w 11420409"/>
              <a:gd name="connsiteY44" fmla="*/ 366172 h 6858000"/>
              <a:gd name="connsiteX45" fmla="*/ 7788060 w 11420409"/>
              <a:gd name="connsiteY45" fmla="*/ 373174 h 6858000"/>
              <a:gd name="connsiteX46" fmla="*/ 7780464 w 11420409"/>
              <a:gd name="connsiteY46" fmla="*/ 367450 h 6858000"/>
              <a:gd name="connsiteX47" fmla="*/ 7778945 w 11420409"/>
              <a:gd name="connsiteY47" fmla="*/ 366172 h 6858000"/>
              <a:gd name="connsiteX48" fmla="*/ 7544713 w 11420409"/>
              <a:gd name="connsiteY48" fmla="*/ 169063 h 6858000"/>
              <a:gd name="connsiteX49" fmla="*/ 7778945 w 11420409"/>
              <a:gd name="connsiteY49" fmla="*/ 366172 h 6858000"/>
              <a:gd name="connsiteX50" fmla="*/ 7732713 w 11420409"/>
              <a:gd name="connsiteY50" fmla="*/ 330658 h 6858000"/>
              <a:gd name="connsiteX51" fmla="*/ 7544713 w 11420409"/>
              <a:gd name="connsiteY51" fmla="*/ 169063 h 6858000"/>
              <a:gd name="connsiteX52" fmla="*/ 7414333 w 11420409"/>
              <a:gd name="connsiteY52" fmla="*/ 56995 h 6858000"/>
              <a:gd name="connsiteX53" fmla="*/ 7544713 w 11420409"/>
              <a:gd name="connsiteY53" fmla="*/ 169063 h 6858000"/>
              <a:gd name="connsiteX54" fmla="*/ 7454642 w 11420409"/>
              <a:gd name="connsiteY54" fmla="*/ 93267 h 6858000"/>
              <a:gd name="connsiteX55" fmla="*/ 7414333 w 11420409"/>
              <a:gd name="connsiteY55" fmla="*/ 56995 h 6858000"/>
              <a:gd name="connsiteX56" fmla="*/ 7348739 w 11420409"/>
              <a:gd name="connsiteY56" fmla="*/ 0 h 6858000"/>
              <a:gd name="connsiteX57" fmla="*/ 7350996 w 11420409"/>
              <a:gd name="connsiteY57" fmla="*/ 0 h 6858000"/>
              <a:gd name="connsiteX58" fmla="*/ 7414333 w 11420409"/>
              <a:gd name="connsiteY58" fmla="*/ 56995 h 6858000"/>
              <a:gd name="connsiteX59" fmla="*/ 7364096 w 11420409"/>
              <a:gd name="connsiteY59" fmla="*/ 13813 h 6858000"/>
              <a:gd name="connsiteX60" fmla="*/ 7348739 w 11420409"/>
              <a:gd name="connsiteY60" fmla="*/ 0 h 6858000"/>
              <a:gd name="connsiteX61" fmla="*/ 1493836 w 11420409"/>
              <a:gd name="connsiteY61" fmla="*/ 0 h 6858000"/>
              <a:gd name="connsiteX62" fmla="*/ 1493841 w 11420409"/>
              <a:gd name="connsiteY62" fmla="*/ 0 h 6858000"/>
              <a:gd name="connsiteX63" fmla="*/ 1318737 w 11420409"/>
              <a:gd name="connsiteY63" fmla="*/ 70646 h 6858000"/>
              <a:gd name="connsiteX64" fmla="*/ 1036321 w 11420409"/>
              <a:gd name="connsiteY64" fmla="*/ 194312 h 6858000"/>
              <a:gd name="connsiteX65" fmla="*/ 130672 w 11420409"/>
              <a:gd name="connsiteY65" fmla="*/ 671514 h 6858000"/>
              <a:gd name="connsiteX66" fmla="*/ 0 w 11420409"/>
              <a:gd name="connsiteY66" fmla="*/ 747683 h 6858000"/>
              <a:gd name="connsiteX67" fmla="*/ 0 w 11420409"/>
              <a:gd name="connsiteY67" fmla="*/ 747682 h 6858000"/>
              <a:gd name="connsiteX68" fmla="*/ 130672 w 11420409"/>
              <a:gd name="connsiteY68" fmla="*/ 671513 h 6858000"/>
              <a:gd name="connsiteX69" fmla="*/ 1036321 w 11420409"/>
              <a:gd name="connsiteY69" fmla="*/ 194310 h 6858000"/>
              <a:gd name="connsiteX70" fmla="*/ 1318737 w 11420409"/>
              <a:gd name="connsiteY70" fmla="*/ 70644 h 6858000"/>
              <a:gd name="connsiteX71" fmla="*/ 1493836 w 11420409"/>
              <a:gd name="connsiteY71" fmla="*/ 0 h 6858000"/>
              <a:gd name="connsiteX0" fmla="*/ 11326061 w 11420409"/>
              <a:gd name="connsiteY0" fmla="*/ 1692532 h 6858000"/>
              <a:gd name="connsiteX1" fmla="*/ 11406282 w 11420409"/>
              <a:gd name="connsiteY1" fmla="*/ 1785822 h 6858000"/>
              <a:gd name="connsiteX2" fmla="*/ 11420409 w 11420409"/>
              <a:gd name="connsiteY2" fmla="*/ 1805055 h 6858000"/>
              <a:gd name="connsiteX3" fmla="*/ 11326061 w 11420409"/>
              <a:gd name="connsiteY3" fmla="*/ 1692532 h 6858000"/>
              <a:gd name="connsiteX4" fmla="*/ 10829453 w 11420409"/>
              <a:gd name="connsiteY4" fmla="*/ 1199865 h 6858000"/>
              <a:gd name="connsiteX5" fmla="*/ 10830227 w 11420409"/>
              <a:gd name="connsiteY5" fmla="*/ 1200518 h 6858000"/>
              <a:gd name="connsiteX6" fmla="*/ 10836860 w 11420409"/>
              <a:gd name="connsiteY6" fmla="*/ 1206669 h 6858000"/>
              <a:gd name="connsiteX7" fmla="*/ 10829453 w 11420409"/>
              <a:gd name="connsiteY7" fmla="*/ 1199865 h 6858000"/>
              <a:gd name="connsiteX8" fmla="*/ 10586019 w 11420409"/>
              <a:gd name="connsiteY8" fmla="*/ 995058 h 6858000"/>
              <a:gd name="connsiteX9" fmla="*/ 10594661 w 11420409"/>
              <a:gd name="connsiteY9" fmla="*/ 1001698 h 6858000"/>
              <a:gd name="connsiteX10" fmla="*/ 10635916 w 11420409"/>
              <a:gd name="connsiteY10" fmla="*/ 1036517 h 6858000"/>
              <a:gd name="connsiteX11" fmla="*/ 10586019 w 11420409"/>
              <a:gd name="connsiteY11" fmla="*/ 995058 h 6858000"/>
              <a:gd name="connsiteX12" fmla="*/ 10333954 w 11420409"/>
              <a:gd name="connsiteY12" fmla="*/ 802539 h 6858000"/>
              <a:gd name="connsiteX13" fmla="*/ 10350933 w 11420409"/>
              <a:gd name="connsiteY13" fmla="*/ 814415 h 6858000"/>
              <a:gd name="connsiteX14" fmla="*/ 10404349 w 11420409"/>
              <a:gd name="connsiteY14" fmla="*/ 855460 h 6858000"/>
              <a:gd name="connsiteX15" fmla="*/ 10333954 w 11420409"/>
              <a:gd name="connsiteY15" fmla="*/ 802539 h 6858000"/>
              <a:gd name="connsiteX16" fmla="*/ 10157163 w 11420409"/>
              <a:gd name="connsiteY16" fmla="*/ 678888 h 6858000"/>
              <a:gd name="connsiteX17" fmla="*/ 10099498 w 11420409"/>
              <a:gd name="connsiteY17" fmla="*/ 638556 h 6858000"/>
              <a:gd name="connsiteX18" fmla="*/ 10157163 w 11420409"/>
              <a:gd name="connsiteY18" fmla="*/ 678888 h 6858000"/>
              <a:gd name="connsiteX19" fmla="*/ 5416523 w 11420409"/>
              <a:gd name="connsiteY19" fmla="*/ 392344 h 6858000"/>
              <a:gd name="connsiteX20" fmla="*/ 7023101 w 11420409"/>
              <a:gd name="connsiteY20" fmla="*/ 661672 h 6858000"/>
              <a:gd name="connsiteX21" fmla="*/ 9331960 w 11420409"/>
              <a:gd name="connsiteY21" fmla="*/ 2457451 h 6858000"/>
              <a:gd name="connsiteX22" fmla="*/ 10982484 w 11420409"/>
              <a:gd name="connsiteY22" fmla="*/ 4320382 h 6858000"/>
              <a:gd name="connsiteX23" fmla="*/ 11046723 w 11420409"/>
              <a:gd name="connsiteY23" fmla="*/ 4399855 h 6858000"/>
              <a:gd name="connsiteX24" fmla="*/ 10950686 w 11420409"/>
              <a:gd name="connsiteY24" fmla="*/ 4415959 h 6858000"/>
              <a:gd name="connsiteX25" fmla="*/ 9269729 w 11420409"/>
              <a:gd name="connsiteY25" fmla="*/ 5092699 h 6858000"/>
              <a:gd name="connsiteX26" fmla="*/ 8111807 w 11420409"/>
              <a:gd name="connsiteY26" fmla="*/ 6820535 h 6858000"/>
              <a:gd name="connsiteX27" fmla="*/ 8096827 w 11420409"/>
              <a:gd name="connsiteY27" fmla="*/ 6858000 h 6858000"/>
              <a:gd name="connsiteX28" fmla="*/ 0 w 11420409"/>
              <a:gd name="connsiteY28" fmla="*/ 6858000 h 6858000"/>
              <a:gd name="connsiteX29" fmla="*/ 0 w 11420409"/>
              <a:gd name="connsiteY29" fmla="*/ 1312476 h 6858000"/>
              <a:gd name="connsiteX30" fmla="*/ 393384 w 11420409"/>
              <a:gd name="connsiteY30" fmla="*/ 1170010 h 6858000"/>
              <a:gd name="connsiteX31" fmla="*/ 1790701 w 11420409"/>
              <a:gd name="connsiteY31" fmla="*/ 836932 h 6858000"/>
              <a:gd name="connsiteX32" fmla="*/ 5416523 w 11420409"/>
              <a:gd name="connsiteY32" fmla="*/ 392344 h 6858000"/>
              <a:gd name="connsiteX33" fmla="*/ 7788060 w 11420409"/>
              <a:gd name="connsiteY33" fmla="*/ 373174 h 6858000"/>
              <a:gd name="connsiteX34" fmla="*/ 7951989 w 11420409"/>
              <a:gd name="connsiteY34" fmla="*/ 496695 h 6858000"/>
              <a:gd name="connsiteX35" fmla="*/ 8131809 w 11420409"/>
              <a:gd name="connsiteY35" fmla="*/ 618490 h 6858000"/>
              <a:gd name="connsiteX36" fmla="*/ 10486389 w 11420409"/>
              <a:gd name="connsiteY36" fmla="*/ 1795780 h 6858000"/>
              <a:gd name="connsiteX37" fmla="*/ 10759439 w 11420409"/>
              <a:gd name="connsiteY37" fmla="*/ 1939290 h 6858000"/>
              <a:gd name="connsiteX38" fmla="*/ 11288712 w 11420409"/>
              <a:gd name="connsiteY38" fmla="*/ 2224564 h 6858000"/>
              <a:gd name="connsiteX39" fmla="*/ 10486390 w 11420409"/>
              <a:gd name="connsiteY39" fmla="*/ 1795782 h 6858000"/>
              <a:gd name="connsiteX40" fmla="*/ 8131810 w 11420409"/>
              <a:gd name="connsiteY40" fmla="*/ 619761 h 6858000"/>
              <a:gd name="connsiteX41" fmla="*/ 7927023 w 11420409"/>
              <a:gd name="connsiteY41" fmla="*/ 479920 h 6858000"/>
              <a:gd name="connsiteX42" fmla="*/ 7788060 w 11420409"/>
              <a:gd name="connsiteY42" fmla="*/ 373174 h 6858000"/>
              <a:gd name="connsiteX43" fmla="*/ 7778945 w 11420409"/>
              <a:gd name="connsiteY43" fmla="*/ 366172 h 6858000"/>
              <a:gd name="connsiteX44" fmla="*/ 7788060 w 11420409"/>
              <a:gd name="connsiteY44" fmla="*/ 373174 h 6858000"/>
              <a:gd name="connsiteX45" fmla="*/ 7780464 w 11420409"/>
              <a:gd name="connsiteY45" fmla="*/ 367450 h 6858000"/>
              <a:gd name="connsiteX46" fmla="*/ 7778945 w 11420409"/>
              <a:gd name="connsiteY46" fmla="*/ 366172 h 6858000"/>
              <a:gd name="connsiteX47" fmla="*/ 7544713 w 11420409"/>
              <a:gd name="connsiteY47" fmla="*/ 169063 h 6858000"/>
              <a:gd name="connsiteX48" fmla="*/ 7778945 w 11420409"/>
              <a:gd name="connsiteY48" fmla="*/ 366172 h 6858000"/>
              <a:gd name="connsiteX49" fmla="*/ 7732713 w 11420409"/>
              <a:gd name="connsiteY49" fmla="*/ 330658 h 6858000"/>
              <a:gd name="connsiteX50" fmla="*/ 7544713 w 11420409"/>
              <a:gd name="connsiteY50" fmla="*/ 169063 h 6858000"/>
              <a:gd name="connsiteX51" fmla="*/ 7414333 w 11420409"/>
              <a:gd name="connsiteY51" fmla="*/ 56995 h 6858000"/>
              <a:gd name="connsiteX52" fmla="*/ 7544713 w 11420409"/>
              <a:gd name="connsiteY52" fmla="*/ 169063 h 6858000"/>
              <a:gd name="connsiteX53" fmla="*/ 7454642 w 11420409"/>
              <a:gd name="connsiteY53" fmla="*/ 93267 h 6858000"/>
              <a:gd name="connsiteX54" fmla="*/ 7414333 w 11420409"/>
              <a:gd name="connsiteY54" fmla="*/ 56995 h 6858000"/>
              <a:gd name="connsiteX55" fmla="*/ 7348739 w 11420409"/>
              <a:gd name="connsiteY55" fmla="*/ 0 h 6858000"/>
              <a:gd name="connsiteX56" fmla="*/ 7350996 w 11420409"/>
              <a:gd name="connsiteY56" fmla="*/ 0 h 6858000"/>
              <a:gd name="connsiteX57" fmla="*/ 7414333 w 11420409"/>
              <a:gd name="connsiteY57" fmla="*/ 56995 h 6858000"/>
              <a:gd name="connsiteX58" fmla="*/ 7364096 w 11420409"/>
              <a:gd name="connsiteY58" fmla="*/ 13813 h 6858000"/>
              <a:gd name="connsiteX59" fmla="*/ 7348739 w 11420409"/>
              <a:gd name="connsiteY59" fmla="*/ 0 h 6858000"/>
              <a:gd name="connsiteX60" fmla="*/ 1493836 w 11420409"/>
              <a:gd name="connsiteY60" fmla="*/ 0 h 6858000"/>
              <a:gd name="connsiteX61" fmla="*/ 1493841 w 11420409"/>
              <a:gd name="connsiteY61" fmla="*/ 0 h 6858000"/>
              <a:gd name="connsiteX62" fmla="*/ 1318737 w 11420409"/>
              <a:gd name="connsiteY62" fmla="*/ 70646 h 6858000"/>
              <a:gd name="connsiteX63" fmla="*/ 1036321 w 11420409"/>
              <a:gd name="connsiteY63" fmla="*/ 194312 h 6858000"/>
              <a:gd name="connsiteX64" fmla="*/ 130672 w 11420409"/>
              <a:gd name="connsiteY64" fmla="*/ 671514 h 6858000"/>
              <a:gd name="connsiteX65" fmla="*/ 0 w 11420409"/>
              <a:gd name="connsiteY65" fmla="*/ 747683 h 6858000"/>
              <a:gd name="connsiteX66" fmla="*/ 0 w 11420409"/>
              <a:gd name="connsiteY66" fmla="*/ 747682 h 6858000"/>
              <a:gd name="connsiteX67" fmla="*/ 130672 w 11420409"/>
              <a:gd name="connsiteY67" fmla="*/ 671513 h 6858000"/>
              <a:gd name="connsiteX68" fmla="*/ 1036321 w 11420409"/>
              <a:gd name="connsiteY68" fmla="*/ 194310 h 6858000"/>
              <a:gd name="connsiteX69" fmla="*/ 1318737 w 11420409"/>
              <a:gd name="connsiteY69" fmla="*/ 70644 h 6858000"/>
              <a:gd name="connsiteX70" fmla="*/ 1493836 w 11420409"/>
              <a:gd name="connsiteY70" fmla="*/ 0 h 6858000"/>
              <a:gd name="connsiteX0" fmla="*/ 11326061 w 11420409"/>
              <a:gd name="connsiteY0" fmla="*/ 1692532 h 6858000"/>
              <a:gd name="connsiteX1" fmla="*/ 11406282 w 11420409"/>
              <a:gd name="connsiteY1" fmla="*/ 1785822 h 6858000"/>
              <a:gd name="connsiteX2" fmla="*/ 11420409 w 11420409"/>
              <a:gd name="connsiteY2" fmla="*/ 1805055 h 6858000"/>
              <a:gd name="connsiteX3" fmla="*/ 11326061 w 11420409"/>
              <a:gd name="connsiteY3" fmla="*/ 1692532 h 6858000"/>
              <a:gd name="connsiteX4" fmla="*/ 10829453 w 11420409"/>
              <a:gd name="connsiteY4" fmla="*/ 1199865 h 6858000"/>
              <a:gd name="connsiteX5" fmla="*/ 10830227 w 11420409"/>
              <a:gd name="connsiteY5" fmla="*/ 1200518 h 6858000"/>
              <a:gd name="connsiteX6" fmla="*/ 10836860 w 11420409"/>
              <a:gd name="connsiteY6" fmla="*/ 1206669 h 6858000"/>
              <a:gd name="connsiteX7" fmla="*/ 10829453 w 11420409"/>
              <a:gd name="connsiteY7" fmla="*/ 1199865 h 6858000"/>
              <a:gd name="connsiteX8" fmla="*/ 10586019 w 11420409"/>
              <a:gd name="connsiteY8" fmla="*/ 995058 h 6858000"/>
              <a:gd name="connsiteX9" fmla="*/ 10594661 w 11420409"/>
              <a:gd name="connsiteY9" fmla="*/ 1001698 h 6858000"/>
              <a:gd name="connsiteX10" fmla="*/ 10635916 w 11420409"/>
              <a:gd name="connsiteY10" fmla="*/ 1036517 h 6858000"/>
              <a:gd name="connsiteX11" fmla="*/ 10586019 w 11420409"/>
              <a:gd name="connsiteY11" fmla="*/ 995058 h 6858000"/>
              <a:gd name="connsiteX12" fmla="*/ 10333954 w 11420409"/>
              <a:gd name="connsiteY12" fmla="*/ 802539 h 6858000"/>
              <a:gd name="connsiteX13" fmla="*/ 10350933 w 11420409"/>
              <a:gd name="connsiteY13" fmla="*/ 814415 h 6858000"/>
              <a:gd name="connsiteX14" fmla="*/ 10404349 w 11420409"/>
              <a:gd name="connsiteY14" fmla="*/ 855460 h 6858000"/>
              <a:gd name="connsiteX15" fmla="*/ 10333954 w 11420409"/>
              <a:gd name="connsiteY15" fmla="*/ 802539 h 6858000"/>
              <a:gd name="connsiteX16" fmla="*/ 10157163 w 11420409"/>
              <a:gd name="connsiteY16" fmla="*/ 678888 h 6858000"/>
              <a:gd name="connsiteX17" fmla="*/ 10099498 w 11420409"/>
              <a:gd name="connsiteY17" fmla="*/ 638556 h 6858000"/>
              <a:gd name="connsiteX18" fmla="*/ 10157163 w 11420409"/>
              <a:gd name="connsiteY18" fmla="*/ 678888 h 6858000"/>
              <a:gd name="connsiteX19" fmla="*/ 5416523 w 11420409"/>
              <a:gd name="connsiteY19" fmla="*/ 392344 h 6858000"/>
              <a:gd name="connsiteX20" fmla="*/ 7023101 w 11420409"/>
              <a:gd name="connsiteY20" fmla="*/ 661672 h 6858000"/>
              <a:gd name="connsiteX21" fmla="*/ 9331960 w 11420409"/>
              <a:gd name="connsiteY21" fmla="*/ 2457451 h 6858000"/>
              <a:gd name="connsiteX22" fmla="*/ 10982484 w 11420409"/>
              <a:gd name="connsiteY22" fmla="*/ 4320382 h 6858000"/>
              <a:gd name="connsiteX23" fmla="*/ 11046723 w 11420409"/>
              <a:gd name="connsiteY23" fmla="*/ 4399855 h 6858000"/>
              <a:gd name="connsiteX24" fmla="*/ 10950686 w 11420409"/>
              <a:gd name="connsiteY24" fmla="*/ 4415959 h 6858000"/>
              <a:gd name="connsiteX25" fmla="*/ 9269729 w 11420409"/>
              <a:gd name="connsiteY25" fmla="*/ 5092699 h 6858000"/>
              <a:gd name="connsiteX26" fmla="*/ 8111807 w 11420409"/>
              <a:gd name="connsiteY26" fmla="*/ 6820535 h 6858000"/>
              <a:gd name="connsiteX27" fmla="*/ 8096827 w 11420409"/>
              <a:gd name="connsiteY27" fmla="*/ 6858000 h 6858000"/>
              <a:gd name="connsiteX28" fmla="*/ 0 w 11420409"/>
              <a:gd name="connsiteY28" fmla="*/ 6858000 h 6858000"/>
              <a:gd name="connsiteX29" fmla="*/ 0 w 11420409"/>
              <a:gd name="connsiteY29" fmla="*/ 1312476 h 6858000"/>
              <a:gd name="connsiteX30" fmla="*/ 393384 w 11420409"/>
              <a:gd name="connsiteY30" fmla="*/ 1170010 h 6858000"/>
              <a:gd name="connsiteX31" fmla="*/ 1790701 w 11420409"/>
              <a:gd name="connsiteY31" fmla="*/ 836932 h 6858000"/>
              <a:gd name="connsiteX32" fmla="*/ 5416523 w 11420409"/>
              <a:gd name="connsiteY32" fmla="*/ 392344 h 6858000"/>
              <a:gd name="connsiteX33" fmla="*/ 7788060 w 11420409"/>
              <a:gd name="connsiteY33" fmla="*/ 373174 h 6858000"/>
              <a:gd name="connsiteX34" fmla="*/ 7951989 w 11420409"/>
              <a:gd name="connsiteY34" fmla="*/ 496695 h 6858000"/>
              <a:gd name="connsiteX35" fmla="*/ 8131809 w 11420409"/>
              <a:gd name="connsiteY35" fmla="*/ 618490 h 6858000"/>
              <a:gd name="connsiteX36" fmla="*/ 10486389 w 11420409"/>
              <a:gd name="connsiteY36" fmla="*/ 1795780 h 6858000"/>
              <a:gd name="connsiteX37" fmla="*/ 10759439 w 11420409"/>
              <a:gd name="connsiteY37" fmla="*/ 1939290 h 6858000"/>
              <a:gd name="connsiteX38" fmla="*/ 10486390 w 11420409"/>
              <a:gd name="connsiteY38" fmla="*/ 1795782 h 6858000"/>
              <a:gd name="connsiteX39" fmla="*/ 8131810 w 11420409"/>
              <a:gd name="connsiteY39" fmla="*/ 619761 h 6858000"/>
              <a:gd name="connsiteX40" fmla="*/ 7927023 w 11420409"/>
              <a:gd name="connsiteY40" fmla="*/ 479920 h 6858000"/>
              <a:gd name="connsiteX41" fmla="*/ 7788060 w 11420409"/>
              <a:gd name="connsiteY41" fmla="*/ 373174 h 6858000"/>
              <a:gd name="connsiteX42" fmla="*/ 7778945 w 11420409"/>
              <a:gd name="connsiteY42" fmla="*/ 366172 h 6858000"/>
              <a:gd name="connsiteX43" fmla="*/ 7788060 w 11420409"/>
              <a:gd name="connsiteY43" fmla="*/ 373174 h 6858000"/>
              <a:gd name="connsiteX44" fmla="*/ 7780464 w 11420409"/>
              <a:gd name="connsiteY44" fmla="*/ 367450 h 6858000"/>
              <a:gd name="connsiteX45" fmla="*/ 7778945 w 11420409"/>
              <a:gd name="connsiteY45" fmla="*/ 366172 h 6858000"/>
              <a:gd name="connsiteX46" fmla="*/ 7544713 w 11420409"/>
              <a:gd name="connsiteY46" fmla="*/ 169063 h 6858000"/>
              <a:gd name="connsiteX47" fmla="*/ 7778945 w 11420409"/>
              <a:gd name="connsiteY47" fmla="*/ 366172 h 6858000"/>
              <a:gd name="connsiteX48" fmla="*/ 7732713 w 11420409"/>
              <a:gd name="connsiteY48" fmla="*/ 330658 h 6858000"/>
              <a:gd name="connsiteX49" fmla="*/ 7544713 w 11420409"/>
              <a:gd name="connsiteY49" fmla="*/ 169063 h 6858000"/>
              <a:gd name="connsiteX50" fmla="*/ 7414333 w 11420409"/>
              <a:gd name="connsiteY50" fmla="*/ 56995 h 6858000"/>
              <a:gd name="connsiteX51" fmla="*/ 7544713 w 11420409"/>
              <a:gd name="connsiteY51" fmla="*/ 169063 h 6858000"/>
              <a:gd name="connsiteX52" fmla="*/ 7454642 w 11420409"/>
              <a:gd name="connsiteY52" fmla="*/ 93267 h 6858000"/>
              <a:gd name="connsiteX53" fmla="*/ 7414333 w 11420409"/>
              <a:gd name="connsiteY53" fmla="*/ 56995 h 6858000"/>
              <a:gd name="connsiteX54" fmla="*/ 7348739 w 11420409"/>
              <a:gd name="connsiteY54" fmla="*/ 0 h 6858000"/>
              <a:gd name="connsiteX55" fmla="*/ 7350996 w 11420409"/>
              <a:gd name="connsiteY55" fmla="*/ 0 h 6858000"/>
              <a:gd name="connsiteX56" fmla="*/ 7414333 w 11420409"/>
              <a:gd name="connsiteY56" fmla="*/ 56995 h 6858000"/>
              <a:gd name="connsiteX57" fmla="*/ 7364096 w 11420409"/>
              <a:gd name="connsiteY57" fmla="*/ 13813 h 6858000"/>
              <a:gd name="connsiteX58" fmla="*/ 7348739 w 11420409"/>
              <a:gd name="connsiteY58" fmla="*/ 0 h 6858000"/>
              <a:gd name="connsiteX59" fmla="*/ 1493836 w 11420409"/>
              <a:gd name="connsiteY59" fmla="*/ 0 h 6858000"/>
              <a:gd name="connsiteX60" fmla="*/ 1493841 w 11420409"/>
              <a:gd name="connsiteY60" fmla="*/ 0 h 6858000"/>
              <a:gd name="connsiteX61" fmla="*/ 1318737 w 11420409"/>
              <a:gd name="connsiteY61" fmla="*/ 70646 h 6858000"/>
              <a:gd name="connsiteX62" fmla="*/ 1036321 w 11420409"/>
              <a:gd name="connsiteY62" fmla="*/ 194312 h 6858000"/>
              <a:gd name="connsiteX63" fmla="*/ 130672 w 11420409"/>
              <a:gd name="connsiteY63" fmla="*/ 671514 h 6858000"/>
              <a:gd name="connsiteX64" fmla="*/ 0 w 11420409"/>
              <a:gd name="connsiteY64" fmla="*/ 747683 h 6858000"/>
              <a:gd name="connsiteX65" fmla="*/ 0 w 11420409"/>
              <a:gd name="connsiteY65" fmla="*/ 747682 h 6858000"/>
              <a:gd name="connsiteX66" fmla="*/ 130672 w 11420409"/>
              <a:gd name="connsiteY66" fmla="*/ 671513 h 6858000"/>
              <a:gd name="connsiteX67" fmla="*/ 1036321 w 11420409"/>
              <a:gd name="connsiteY67" fmla="*/ 194310 h 6858000"/>
              <a:gd name="connsiteX68" fmla="*/ 1318737 w 11420409"/>
              <a:gd name="connsiteY68" fmla="*/ 70644 h 6858000"/>
              <a:gd name="connsiteX69" fmla="*/ 1493836 w 11420409"/>
              <a:gd name="connsiteY69" fmla="*/ 0 h 6858000"/>
              <a:gd name="connsiteX0" fmla="*/ 11326061 w 11420409"/>
              <a:gd name="connsiteY0" fmla="*/ 1692532 h 6858000"/>
              <a:gd name="connsiteX1" fmla="*/ 11406282 w 11420409"/>
              <a:gd name="connsiteY1" fmla="*/ 1785822 h 6858000"/>
              <a:gd name="connsiteX2" fmla="*/ 11420409 w 11420409"/>
              <a:gd name="connsiteY2" fmla="*/ 1805055 h 6858000"/>
              <a:gd name="connsiteX3" fmla="*/ 11326061 w 11420409"/>
              <a:gd name="connsiteY3" fmla="*/ 1692532 h 6858000"/>
              <a:gd name="connsiteX4" fmla="*/ 10829453 w 11420409"/>
              <a:gd name="connsiteY4" fmla="*/ 1199865 h 6858000"/>
              <a:gd name="connsiteX5" fmla="*/ 10830227 w 11420409"/>
              <a:gd name="connsiteY5" fmla="*/ 1200518 h 6858000"/>
              <a:gd name="connsiteX6" fmla="*/ 10836860 w 11420409"/>
              <a:gd name="connsiteY6" fmla="*/ 1206669 h 6858000"/>
              <a:gd name="connsiteX7" fmla="*/ 10829453 w 11420409"/>
              <a:gd name="connsiteY7" fmla="*/ 1199865 h 6858000"/>
              <a:gd name="connsiteX8" fmla="*/ 10586019 w 11420409"/>
              <a:gd name="connsiteY8" fmla="*/ 995058 h 6858000"/>
              <a:gd name="connsiteX9" fmla="*/ 10594661 w 11420409"/>
              <a:gd name="connsiteY9" fmla="*/ 1001698 h 6858000"/>
              <a:gd name="connsiteX10" fmla="*/ 10635916 w 11420409"/>
              <a:gd name="connsiteY10" fmla="*/ 1036517 h 6858000"/>
              <a:gd name="connsiteX11" fmla="*/ 10586019 w 11420409"/>
              <a:gd name="connsiteY11" fmla="*/ 995058 h 6858000"/>
              <a:gd name="connsiteX12" fmla="*/ 10333954 w 11420409"/>
              <a:gd name="connsiteY12" fmla="*/ 802539 h 6858000"/>
              <a:gd name="connsiteX13" fmla="*/ 10350933 w 11420409"/>
              <a:gd name="connsiteY13" fmla="*/ 814415 h 6858000"/>
              <a:gd name="connsiteX14" fmla="*/ 10404349 w 11420409"/>
              <a:gd name="connsiteY14" fmla="*/ 855460 h 6858000"/>
              <a:gd name="connsiteX15" fmla="*/ 10333954 w 11420409"/>
              <a:gd name="connsiteY15" fmla="*/ 802539 h 6858000"/>
              <a:gd name="connsiteX16" fmla="*/ 10157163 w 11420409"/>
              <a:gd name="connsiteY16" fmla="*/ 678888 h 6858000"/>
              <a:gd name="connsiteX17" fmla="*/ 10099498 w 11420409"/>
              <a:gd name="connsiteY17" fmla="*/ 638556 h 6858000"/>
              <a:gd name="connsiteX18" fmla="*/ 10157163 w 11420409"/>
              <a:gd name="connsiteY18" fmla="*/ 678888 h 6858000"/>
              <a:gd name="connsiteX19" fmla="*/ 5416523 w 11420409"/>
              <a:gd name="connsiteY19" fmla="*/ 392344 h 6858000"/>
              <a:gd name="connsiteX20" fmla="*/ 7023101 w 11420409"/>
              <a:gd name="connsiteY20" fmla="*/ 661672 h 6858000"/>
              <a:gd name="connsiteX21" fmla="*/ 9331960 w 11420409"/>
              <a:gd name="connsiteY21" fmla="*/ 2457451 h 6858000"/>
              <a:gd name="connsiteX22" fmla="*/ 10982484 w 11420409"/>
              <a:gd name="connsiteY22" fmla="*/ 4320382 h 6858000"/>
              <a:gd name="connsiteX23" fmla="*/ 11046723 w 11420409"/>
              <a:gd name="connsiteY23" fmla="*/ 4399855 h 6858000"/>
              <a:gd name="connsiteX24" fmla="*/ 10950686 w 11420409"/>
              <a:gd name="connsiteY24" fmla="*/ 4415959 h 6858000"/>
              <a:gd name="connsiteX25" fmla="*/ 9269729 w 11420409"/>
              <a:gd name="connsiteY25" fmla="*/ 5092699 h 6858000"/>
              <a:gd name="connsiteX26" fmla="*/ 8111807 w 11420409"/>
              <a:gd name="connsiteY26" fmla="*/ 6820535 h 6858000"/>
              <a:gd name="connsiteX27" fmla="*/ 8096827 w 11420409"/>
              <a:gd name="connsiteY27" fmla="*/ 6858000 h 6858000"/>
              <a:gd name="connsiteX28" fmla="*/ 0 w 11420409"/>
              <a:gd name="connsiteY28" fmla="*/ 6858000 h 6858000"/>
              <a:gd name="connsiteX29" fmla="*/ 0 w 11420409"/>
              <a:gd name="connsiteY29" fmla="*/ 1312476 h 6858000"/>
              <a:gd name="connsiteX30" fmla="*/ 393384 w 11420409"/>
              <a:gd name="connsiteY30" fmla="*/ 1170010 h 6858000"/>
              <a:gd name="connsiteX31" fmla="*/ 1790701 w 11420409"/>
              <a:gd name="connsiteY31" fmla="*/ 836932 h 6858000"/>
              <a:gd name="connsiteX32" fmla="*/ 5416523 w 11420409"/>
              <a:gd name="connsiteY32" fmla="*/ 392344 h 6858000"/>
              <a:gd name="connsiteX33" fmla="*/ 7788060 w 11420409"/>
              <a:gd name="connsiteY33" fmla="*/ 373174 h 6858000"/>
              <a:gd name="connsiteX34" fmla="*/ 7951989 w 11420409"/>
              <a:gd name="connsiteY34" fmla="*/ 496695 h 6858000"/>
              <a:gd name="connsiteX35" fmla="*/ 8131809 w 11420409"/>
              <a:gd name="connsiteY35" fmla="*/ 618490 h 6858000"/>
              <a:gd name="connsiteX36" fmla="*/ 10486389 w 11420409"/>
              <a:gd name="connsiteY36" fmla="*/ 1795780 h 6858000"/>
              <a:gd name="connsiteX37" fmla="*/ 10486390 w 11420409"/>
              <a:gd name="connsiteY37" fmla="*/ 1795782 h 6858000"/>
              <a:gd name="connsiteX38" fmla="*/ 8131810 w 11420409"/>
              <a:gd name="connsiteY38" fmla="*/ 619761 h 6858000"/>
              <a:gd name="connsiteX39" fmla="*/ 7927023 w 11420409"/>
              <a:gd name="connsiteY39" fmla="*/ 479920 h 6858000"/>
              <a:gd name="connsiteX40" fmla="*/ 7788060 w 11420409"/>
              <a:gd name="connsiteY40" fmla="*/ 373174 h 6858000"/>
              <a:gd name="connsiteX41" fmla="*/ 7778945 w 11420409"/>
              <a:gd name="connsiteY41" fmla="*/ 366172 h 6858000"/>
              <a:gd name="connsiteX42" fmla="*/ 7788060 w 11420409"/>
              <a:gd name="connsiteY42" fmla="*/ 373174 h 6858000"/>
              <a:gd name="connsiteX43" fmla="*/ 7780464 w 11420409"/>
              <a:gd name="connsiteY43" fmla="*/ 367450 h 6858000"/>
              <a:gd name="connsiteX44" fmla="*/ 7778945 w 11420409"/>
              <a:gd name="connsiteY44" fmla="*/ 366172 h 6858000"/>
              <a:gd name="connsiteX45" fmla="*/ 7544713 w 11420409"/>
              <a:gd name="connsiteY45" fmla="*/ 169063 h 6858000"/>
              <a:gd name="connsiteX46" fmla="*/ 7778945 w 11420409"/>
              <a:gd name="connsiteY46" fmla="*/ 366172 h 6858000"/>
              <a:gd name="connsiteX47" fmla="*/ 7732713 w 11420409"/>
              <a:gd name="connsiteY47" fmla="*/ 330658 h 6858000"/>
              <a:gd name="connsiteX48" fmla="*/ 7544713 w 11420409"/>
              <a:gd name="connsiteY48" fmla="*/ 169063 h 6858000"/>
              <a:gd name="connsiteX49" fmla="*/ 7414333 w 11420409"/>
              <a:gd name="connsiteY49" fmla="*/ 56995 h 6858000"/>
              <a:gd name="connsiteX50" fmla="*/ 7544713 w 11420409"/>
              <a:gd name="connsiteY50" fmla="*/ 169063 h 6858000"/>
              <a:gd name="connsiteX51" fmla="*/ 7454642 w 11420409"/>
              <a:gd name="connsiteY51" fmla="*/ 93267 h 6858000"/>
              <a:gd name="connsiteX52" fmla="*/ 7414333 w 11420409"/>
              <a:gd name="connsiteY52" fmla="*/ 56995 h 6858000"/>
              <a:gd name="connsiteX53" fmla="*/ 7348739 w 11420409"/>
              <a:gd name="connsiteY53" fmla="*/ 0 h 6858000"/>
              <a:gd name="connsiteX54" fmla="*/ 7350996 w 11420409"/>
              <a:gd name="connsiteY54" fmla="*/ 0 h 6858000"/>
              <a:gd name="connsiteX55" fmla="*/ 7414333 w 11420409"/>
              <a:gd name="connsiteY55" fmla="*/ 56995 h 6858000"/>
              <a:gd name="connsiteX56" fmla="*/ 7364096 w 11420409"/>
              <a:gd name="connsiteY56" fmla="*/ 13813 h 6858000"/>
              <a:gd name="connsiteX57" fmla="*/ 7348739 w 11420409"/>
              <a:gd name="connsiteY57" fmla="*/ 0 h 6858000"/>
              <a:gd name="connsiteX58" fmla="*/ 1493836 w 11420409"/>
              <a:gd name="connsiteY58" fmla="*/ 0 h 6858000"/>
              <a:gd name="connsiteX59" fmla="*/ 1493841 w 11420409"/>
              <a:gd name="connsiteY59" fmla="*/ 0 h 6858000"/>
              <a:gd name="connsiteX60" fmla="*/ 1318737 w 11420409"/>
              <a:gd name="connsiteY60" fmla="*/ 70646 h 6858000"/>
              <a:gd name="connsiteX61" fmla="*/ 1036321 w 11420409"/>
              <a:gd name="connsiteY61" fmla="*/ 194312 h 6858000"/>
              <a:gd name="connsiteX62" fmla="*/ 130672 w 11420409"/>
              <a:gd name="connsiteY62" fmla="*/ 671514 h 6858000"/>
              <a:gd name="connsiteX63" fmla="*/ 0 w 11420409"/>
              <a:gd name="connsiteY63" fmla="*/ 747683 h 6858000"/>
              <a:gd name="connsiteX64" fmla="*/ 0 w 11420409"/>
              <a:gd name="connsiteY64" fmla="*/ 747682 h 6858000"/>
              <a:gd name="connsiteX65" fmla="*/ 130672 w 11420409"/>
              <a:gd name="connsiteY65" fmla="*/ 671513 h 6858000"/>
              <a:gd name="connsiteX66" fmla="*/ 1036321 w 11420409"/>
              <a:gd name="connsiteY66" fmla="*/ 194310 h 6858000"/>
              <a:gd name="connsiteX67" fmla="*/ 1318737 w 11420409"/>
              <a:gd name="connsiteY67" fmla="*/ 70644 h 6858000"/>
              <a:gd name="connsiteX68" fmla="*/ 1493836 w 11420409"/>
              <a:gd name="connsiteY68" fmla="*/ 0 h 6858000"/>
              <a:gd name="connsiteX0" fmla="*/ 11326061 w 11420409"/>
              <a:gd name="connsiteY0" fmla="*/ 1692532 h 6858000"/>
              <a:gd name="connsiteX1" fmla="*/ 11406282 w 11420409"/>
              <a:gd name="connsiteY1" fmla="*/ 1785822 h 6858000"/>
              <a:gd name="connsiteX2" fmla="*/ 11420409 w 11420409"/>
              <a:gd name="connsiteY2" fmla="*/ 1805055 h 6858000"/>
              <a:gd name="connsiteX3" fmla="*/ 11326061 w 11420409"/>
              <a:gd name="connsiteY3" fmla="*/ 1692532 h 6858000"/>
              <a:gd name="connsiteX4" fmla="*/ 10829453 w 11420409"/>
              <a:gd name="connsiteY4" fmla="*/ 1199865 h 6858000"/>
              <a:gd name="connsiteX5" fmla="*/ 10830227 w 11420409"/>
              <a:gd name="connsiteY5" fmla="*/ 1200518 h 6858000"/>
              <a:gd name="connsiteX6" fmla="*/ 10836860 w 11420409"/>
              <a:gd name="connsiteY6" fmla="*/ 1206669 h 6858000"/>
              <a:gd name="connsiteX7" fmla="*/ 10829453 w 11420409"/>
              <a:gd name="connsiteY7" fmla="*/ 1199865 h 6858000"/>
              <a:gd name="connsiteX8" fmla="*/ 10586019 w 11420409"/>
              <a:gd name="connsiteY8" fmla="*/ 995058 h 6858000"/>
              <a:gd name="connsiteX9" fmla="*/ 10594661 w 11420409"/>
              <a:gd name="connsiteY9" fmla="*/ 1001698 h 6858000"/>
              <a:gd name="connsiteX10" fmla="*/ 10635916 w 11420409"/>
              <a:gd name="connsiteY10" fmla="*/ 1036517 h 6858000"/>
              <a:gd name="connsiteX11" fmla="*/ 10586019 w 11420409"/>
              <a:gd name="connsiteY11" fmla="*/ 995058 h 6858000"/>
              <a:gd name="connsiteX12" fmla="*/ 10333954 w 11420409"/>
              <a:gd name="connsiteY12" fmla="*/ 802539 h 6858000"/>
              <a:gd name="connsiteX13" fmla="*/ 10350933 w 11420409"/>
              <a:gd name="connsiteY13" fmla="*/ 814415 h 6858000"/>
              <a:gd name="connsiteX14" fmla="*/ 10404349 w 11420409"/>
              <a:gd name="connsiteY14" fmla="*/ 855460 h 6858000"/>
              <a:gd name="connsiteX15" fmla="*/ 10333954 w 11420409"/>
              <a:gd name="connsiteY15" fmla="*/ 802539 h 6858000"/>
              <a:gd name="connsiteX16" fmla="*/ 10157163 w 11420409"/>
              <a:gd name="connsiteY16" fmla="*/ 678888 h 6858000"/>
              <a:gd name="connsiteX17" fmla="*/ 10099498 w 11420409"/>
              <a:gd name="connsiteY17" fmla="*/ 638556 h 6858000"/>
              <a:gd name="connsiteX18" fmla="*/ 10157163 w 11420409"/>
              <a:gd name="connsiteY18" fmla="*/ 678888 h 6858000"/>
              <a:gd name="connsiteX19" fmla="*/ 5416523 w 11420409"/>
              <a:gd name="connsiteY19" fmla="*/ 392344 h 6858000"/>
              <a:gd name="connsiteX20" fmla="*/ 7023101 w 11420409"/>
              <a:gd name="connsiteY20" fmla="*/ 661672 h 6858000"/>
              <a:gd name="connsiteX21" fmla="*/ 9331960 w 11420409"/>
              <a:gd name="connsiteY21" fmla="*/ 2457451 h 6858000"/>
              <a:gd name="connsiteX22" fmla="*/ 10982484 w 11420409"/>
              <a:gd name="connsiteY22" fmla="*/ 4320382 h 6858000"/>
              <a:gd name="connsiteX23" fmla="*/ 11046723 w 11420409"/>
              <a:gd name="connsiteY23" fmla="*/ 4399855 h 6858000"/>
              <a:gd name="connsiteX24" fmla="*/ 10950686 w 11420409"/>
              <a:gd name="connsiteY24" fmla="*/ 4415959 h 6858000"/>
              <a:gd name="connsiteX25" fmla="*/ 9269729 w 11420409"/>
              <a:gd name="connsiteY25" fmla="*/ 5092699 h 6858000"/>
              <a:gd name="connsiteX26" fmla="*/ 8111807 w 11420409"/>
              <a:gd name="connsiteY26" fmla="*/ 6820535 h 6858000"/>
              <a:gd name="connsiteX27" fmla="*/ 8096827 w 11420409"/>
              <a:gd name="connsiteY27" fmla="*/ 6858000 h 6858000"/>
              <a:gd name="connsiteX28" fmla="*/ 0 w 11420409"/>
              <a:gd name="connsiteY28" fmla="*/ 6858000 h 6858000"/>
              <a:gd name="connsiteX29" fmla="*/ 0 w 11420409"/>
              <a:gd name="connsiteY29" fmla="*/ 1312476 h 6858000"/>
              <a:gd name="connsiteX30" fmla="*/ 393384 w 11420409"/>
              <a:gd name="connsiteY30" fmla="*/ 1170010 h 6858000"/>
              <a:gd name="connsiteX31" fmla="*/ 1790701 w 11420409"/>
              <a:gd name="connsiteY31" fmla="*/ 836932 h 6858000"/>
              <a:gd name="connsiteX32" fmla="*/ 5416523 w 11420409"/>
              <a:gd name="connsiteY32" fmla="*/ 392344 h 6858000"/>
              <a:gd name="connsiteX33" fmla="*/ 7788060 w 11420409"/>
              <a:gd name="connsiteY33" fmla="*/ 373174 h 6858000"/>
              <a:gd name="connsiteX34" fmla="*/ 7951989 w 11420409"/>
              <a:gd name="connsiteY34" fmla="*/ 496695 h 6858000"/>
              <a:gd name="connsiteX35" fmla="*/ 8131809 w 11420409"/>
              <a:gd name="connsiteY35" fmla="*/ 618490 h 6858000"/>
              <a:gd name="connsiteX36" fmla="*/ 10486389 w 11420409"/>
              <a:gd name="connsiteY36" fmla="*/ 1795780 h 6858000"/>
              <a:gd name="connsiteX37" fmla="*/ 8131810 w 11420409"/>
              <a:gd name="connsiteY37" fmla="*/ 619761 h 6858000"/>
              <a:gd name="connsiteX38" fmla="*/ 7927023 w 11420409"/>
              <a:gd name="connsiteY38" fmla="*/ 479920 h 6858000"/>
              <a:gd name="connsiteX39" fmla="*/ 7788060 w 11420409"/>
              <a:gd name="connsiteY39" fmla="*/ 373174 h 6858000"/>
              <a:gd name="connsiteX40" fmla="*/ 7778945 w 11420409"/>
              <a:gd name="connsiteY40" fmla="*/ 366172 h 6858000"/>
              <a:gd name="connsiteX41" fmla="*/ 7788060 w 11420409"/>
              <a:gd name="connsiteY41" fmla="*/ 373174 h 6858000"/>
              <a:gd name="connsiteX42" fmla="*/ 7780464 w 11420409"/>
              <a:gd name="connsiteY42" fmla="*/ 367450 h 6858000"/>
              <a:gd name="connsiteX43" fmla="*/ 7778945 w 11420409"/>
              <a:gd name="connsiteY43" fmla="*/ 366172 h 6858000"/>
              <a:gd name="connsiteX44" fmla="*/ 7544713 w 11420409"/>
              <a:gd name="connsiteY44" fmla="*/ 169063 h 6858000"/>
              <a:gd name="connsiteX45" fmla="*/ 7778945 w 11420409"/>
              <a:gd name="connsiteY45" fmla="*/ 366172 h 6858000"/>
              <a:gd name="connsiteX46" fmla="*/ 7732713 w 11420409"/>
              <a:gd name="connsiteY46" fmla="*/ 330658 h 6858000"/>
              <a:gd name="connsiteX47" fmla="*/ 7544713 w 11420409"/>
              <a:gd name="connsiteY47" fmla="*/ 169063 h 6858000"/>
              <a:gd name="connsiteX48" fmla="*/ 7414333 w 11420409"/>
              <a:gd name="connsiteY48" fmla="*/ 56995 h 6858000"/>
              <a:gd name="connsiteX49" fmla="*/ 7544713 w 11420409"/>
              <a:gd name="connsiteY49" fmla="*/ 169063 h 6858000"/>
              <a:gd name="connsiteX50" fmla="*/ 7454642 w 11420409"/>
              <a:gd name="connsiteY50" fmla="*/ 93267 h 6858000"/>
              <a:gd name="connsiteX51" fmla="*/ 7414333 w 11420409"/>
              <a:gd name="connsiteY51" fmla="*/ 56995 h 6858000"/>
              <a:gd name="connsiteX52" fmla="*/ 7348739 w 11420409"/>
              <a:gd name="connsiteY52" fmla="*/ 0 h 6858000"/>
              <a:gd name="connsiteX53" fmla="*/ 7350996 w 11420409"/>
              <a:gd name="connsiteY53" fmla="*/ 0 h 6858000"/>
              <a:gd name="connsiteX54" fmla="*/ 7414333 w 11420409"/>
              <a:gd name="connsiteY54" fmla="*/ 56995 h 6858000"/>
              <a:gd name="connsiteX55" fmla="*/ 7364096 w 11420409"/>
              <a:gd name="connsiteY55" fmla="*/ 13813 h 6858000"/>
              <a:gd name="connsiteX56" fmla="*/ 7348739 w 11420409"/>
              <a:gd name="connsiteY56" fmla="*/ 0 h 6858000"/>
              <a:gd name="connsiteX57" fmla="*/ 1493836 w 11420409"/>
              <a:gd name="connsiteY57" fmla="*/ 0 h 6858000"/>
              <a:gd name="connsiteX58" fmla="*/ 1493841 w 11420409"/>
              <a:gd name="connsiteY58" fmla="*/ 0 h 6858000"/>
              <a:gd name="connsiteX59" fmla="*/ 1318737 w 11420409"/>
              <a:gd name="connsiteY59" fmla="*/ 70646 h 6858000"/>
              <a:gd name="connsiteX60" fmla="*/ 1036321 w 11420409"/>
              <a:gd name="connsiteY60" fmla="*/ 194312 h 6858000"/>
              <a:gd name="connsiteX61" fmla="*/ 130672 w 11420409"/>
              <a:gd name="connsiteY61" fmla="*/ 671514 h 6858000"/>
              <a:gd name="connsiteX62" fmla="*/ 0 w 11420409"/>
              <a:gd name="connsiteY62" fmla="*/ 747683 h 6858000"/>
              <a:gd name="connsiteX63" fmla="*/ 0 w 11420409"/>
              <a:gd name="connsiteY63" fmla="*/ 747682 h 6858000"/>
              <a:gd name="connsiteX64" fmla="*/ 130672 w 11420409"/>
              <a:gd name="connsiteY64" fmla="*/ 671513 h 6858000"/>
              <a:gd name="connsiteX65" fmla="*/ 1036321 w 11420409"/>
              <a:gd name="connsiteY65" fmla="*/ 194310 h 6858000"/>
              <a:gd name="connsiteX66" fmla="*/ 1318737 w 11420409"/>
              <a:gd name="connsiteY66" fmla="*/ 70644 h 6858000"/>
              <a:gd name="connsiteX67" fmla="*/ 1493836 w 11420409"/>
              <a:gd name="connsiteY67" fmla="*/ 0 h 6858000"/>
              <a:gd name="connsiteX0" fmla="*/ 11420409 w 11420409"/>
              <a:gd name="connsiteY0" fmla="*/ 1805055 h 6858000"/>
              <a:gd name="connsiteX1" fmla="*/ 11406282 w 11420409"/>
              <a:gd name="connsiteY1" fmla="*/ 1785822 h 6858000"/>
              <a:gd name="connsiteX2" fmla="*/ 11420409 w 11420409"/>
              <a:gd name="connsiteY2" fmla="*/ 1805055 h 6858000"/>
              <a:gd name="connsiteX3" fmla="*/ 10829453 w 11420409"/>
              <a:gd name="connsiteY3" fmla="*/ 1199865 h 6858000"/>
              <a:gd name="connsiteX4" fmla="*/ 10830227 w 11420409"/>
              <a:gd name="connsiteY4" fmla="*/ 1200518 h 6858000"/>
              <a:gd name="connsiteX5" fmla="*/ 10836860 w 11420409"/>
              <a:gd name="connsiteY5" fmla="*/ 1206669 h 6858000"/>
              <a:gd name="connsiteX6" fmla="*/ 10829453 w 11420409"/>
              <a:gd name="connsiteY6" fmla="*/ 1199865 h 6858000"/>
              <a:gd name="connsiteX7" fmla="*/ 10586019 w 11420409"/>
              <a:gd name="connsiteY7" fmla="*/ 995058 h 6858000"/>
              <a:gd name="connsiteX8" fmla="*/ 10594661 w 11420409"/>
              <a:gd name="connsiteY8" fmla="*/ 1001698 h 6858000"/>
              <a:gd name="connsiteX9" fmla="*/ 10635916 w 11420409"/>
              <a:gd name="connsiteY9" fmla="*/ 1036517 h 6858000"/>
              <a:gd name="connsiteX10" fmla="*/ 10586019 w 11420409"/>
              <a:gd name="connsiteY10" fmla="*/ 995058 h 6858000"/>
              <a:gd name="connsiteX11" fmla="*/ 10333954 w 11420409"/>
              <a:gd name="connsiteY11" fmla="*/ 802539 h 6858000"/>
              <a:gd name="connsiteX12" fmla="*/ 10350933 w 11420409"/>
              <a:gd name="connsiteY12" fmla="*/ 814415 h 6858000"/>
              <a:gd name="connsiteX13" fmla="*/ 10404349 w 11420409"/>
              <a:gd name="connsiteY13" fmla="*/ 855460 h 6858000"/>
              <a:gd name="connsiteX14" fmla="*/ 10333954 w 11420409"/>
              <a:gd name="connsiteY14" fmla="*/ 802539 h 6858000"/>
              <a:gd name="connsiteX15" fmla="*/ 10157163 w 11420409"/>
              <a:gd name="connsiteY15" fmla="*/ 678888 h 6858000"/>
              <a:gd name="connsiteX16" fmla="*/ 10099498 w 11420409"/>
              <a:gd name="connsiteY16" fmla="*/ 638556 h 6858000"/>
              <a:gd name="connsiteX17" fmla="*/ 10157163 w 11420409"/>
              <a:gd name="connsiteY17" fmla="*/ 678888 h 6858000"/>
              <a:gd name="connsiteX18" fmla="*/ 5416523 w 11420409"/>
              <a:gd name="connsiteY18" fmla="*/ 392344 h 6858000"/>
              <a:gd name="connsiteX19" fmla="*/ 7023101 w 11420409"/>
              <a:gd name="connsiteY19" fmla="*/ 661672 h 6858000"/>
              <a:gd name="connsiteX20" fmla="*/ 9331960 w 11420409"/>
              <a:gd name="connsiteY20" fmla="*/ 2457451 h 6858000"/>
              <a:gd name="connsiteX21" fmla="*/ 10982484 w 11420409"/>
              <a:gd name="connsiteY21" fmla="*/ 4320382 h 6858000"/>
              <a:gd name="connsiteX22" fmla="*/ 11046723 w 11420409"/>
              <a:gd name="connsiteY22" fmla="*/ 4399855 h 6858000"/>
              <a:gd name="connsiteX23" fmla="*/ 10950686 w 11420409"/>
              <a:gd name="connsiteY23" fmla="*/ 4415959 h 6858000"/>
              <a:gd name="connsiteX24" fmla="*/ 9269729 w 11420409"/>
              <a:gd name="connsiteY24" fmla="*/ 5092699 h 6858000"/>
              <a:gd name="connsiteX25" fmla="*/ 8111807 w 11420409"/>
              <a:gd name="connsiteY25" fmla="*/ 6820535 h 6858000"/>
              <a:gd name="connsiteX26" fmla="*/ 8096827 w 11420409"/>
              <a:gd name="connsiteY26" fmla="*/ 6858000 h 6858000"/>
              <a:gd name="connsiteX27" fmla="*/ 0 w 11420409"/>
              <a:gd name="connsiteY27" fmla="*/ 6858000 h 6858000"/>
              <a:gd name="connsiteX28" fmla="*/ 0 w 11420409"/>
              <a:gd name="connsiteY28" fmla="*/ 1312476 h 6858000"/>
              <a:gd name="connsiteX29" fmla="*/ 393384 w 11420409"/>
              <a:gd name="connsiteY29" fmla="*/ 1170010 h 6858000"/>
              <a:gd name="connsiteX30" fmla="*/ 1790701 w 11420409"/>
              <a:gd name="connsiteY30" fmla="*/ 836932 h 6858000"/>
              <a:gd name="connsiteX31" fmla="*/ 5416523 w 11420409"/>
              <a:gd name="connsiteY31" fmla="*/ 392344 h 6858000"/>
              <a:gd name="connsiteX32" fmla="*/ 7788060 w 11420409"/>
              <a:gd name="connsiteY32" fmla="*/ 373174 h 6858000"/>
              <a:gd name="connsiteX33" fmla="*/ 7951989 w 11420409"/>
              <a:gd name="connsiteY33" fmla="*/ 496695 h 6858000"/>
              <a:gd name="connsiteX34" fmla="*/ 8131809 w 11420409"/>
              <a:gd name="connsiteY34" fmla="*/ 618490 h 6858000"/>
              <a:gd name="connsiteX35" fmla="*/ 10486389 w 11420409"/>
              <a:gd name="connsiteY35" fmla="*/ 1795780 h 6858000"/>
              <a:gd name="connsiteX36" fmla="*/ 8131810 w 11420409"/>
              <a:gd name="connsiteY36" fmla="*/ 619761 h 6858000"/>
              <a:gd name="connsiteX37" fmla="*/ 7927023 w 11420409"/>
              <a:gd name="connsiteY37" fmla="*/ 479920 h 6858000"/>
              <a:gd name="connsiteX38" fmla="*/ 7788060 w 11420409"/>
              <a:gd name="connsiteY38" fmla="*/ 373174 h 6858000"/>
              <a:gd name="connsiteX39" fmla="*/ 7778945 w 11420409"/>
              <a:gd name="connsiteY39" fmla="*/ 366172 h 6858000"/>
              <a:gd name="connsiteX40" fmla="*/ 7788060 w 11420409"/>
              <a:gd name="connsiteY40" fmla="*/ 373174 h 6858000"/>
              <a:gd name="connsiteX41" fmla="*/ 7780464 w 11420409"/>
              <a:gd name="connsiteY41" fmla="*/ 367450 h 6858000"/>
              <a:gd name="connsiteX42" fmla="*/ 7778945 w 11420409"/>
              <a:gd name="connsiteY42" fmla="*/ 366172 h 6858000"/>
              <a:gd name="connsiteX43" fmla="*/ 7544713 w 11420409"/>
              <a:gd name="connsiteY43" fmla="*/ 169063 h 6858000"/>
              <a:gd name="connsiteX44" fmla="*/ 7778945 w 11420409"/>
              <a:gd name="connsiteY44" fmla="*/ 366172 h 6858000"/>
              <a:gd name="connsiteX45" fmla="*/ 7732713 w 11420409"/>
              <a:gd name="connsiteY45" fmla="*/ 330658 h 6858000"/>
              <a:gd name="connsiteX46" fmla="*/ 7544713 w 11420409"/>
              <a:gd name="connsiteY46" fmla="*/ 169063 h 6858000"/>
              <a:gd name="connsiteX47" fmla="*/ 7414333 w 11420409"/>
              <a:gd name="connsiteY47" fmla="*/ 56995 h 6858000"/>
              <a:gd name="connsiteX48" fmla="*/ 7544713 w 11420409"/>
              <a:gd name="connsiteY48" fmla="*/ 169063 h 6858000"/>
              <a:gd name="connsiteX49" fmla="*/ 7454642 w 11420409"/>
              <a:gd name="connsiteY49" fmla="*/ 93267 h 6858000"/>
              <a:gd name="connsiteX50" fmla="*/ 7414333 w 11420409"/>
              <a:gd name="connsiteY50" fmla="*/ 56995 h 6858000"/>
              <a:gd name="connsiteX51" fmla="*/ 7348739 w 11420409"/>
              <a:gd name="connsiteY51" fmla="*/ 0 h 6858000"/>
              <a:gd name="connsiteX52" fmla="*/ 7350996 w 11420409"/>
              <a:gd name="connsiteY52" fmla="*/ 0 h 6858000"/>
              <a:gd name="connsiteX53" fmla="*/ 7414333 w 11420409"/>
              <a:gd name="connsiteY53" fmla="*/ 56995 h 6858000"/>
              <a:gd name="connsiteX54" fmla="*/ 7364096 w 11420409"/>
              <a:gd name="connsiteY54" fmla="*/ 13813 h 6858000"/>
              <a:gd name="connsiteX55" fmla="*/ 7348739 w 11420409"/>
              <a:gd name="connsiteY55" fmla="*/ 0 h 6858000"/>
              <a:gd name="connsiteX56" fmla="*/ 1493836 w 11420409"/>
              <a:gd name="connsiteY56" fmla="*/ 0 h 6858000"/>
              <a:gd name="connsiteX57" fmla="*/ 1493841 w 11420409"/>
              <a:gd name="connsiteY57" fmla="*/ 0 h 6858000"/>
              <a:gd name="connsiteX58" fmla="*/ 1318737 w 11420409"/>
              <a:gd name="connsiteY58" fmla="*/ 70646 h 6858000"/>
              <a:gd name="connsiteX59" fmla="*/ 1036321 w 11420409"/>
              <a:gd name="connsiteY59" fmla="*/ 194312 h 6858000"/>
              <a:gd name="connsiteX60" fmla="*/ 130672 w 11420409"/>
              <a:gd name="connsiteY60" fmla="*/ 671514 h 6858000"/>
              <a:gd name="connsiteX61" fmla="*/ 0 w 11420409"/>
              <a:gd name="connsiteY61" fmla="*/ 747683 h 6858000"/>
              <a:gd name="connsiteX62" fmla="*/ 0 w 11420409"/>
              <a:gd name="connsiteY62" fmla="*/ 747682 h 6858000"/>
              <a:gd name="connsiteX63" fmla="*/ 130672 w 11420409"/>
              <a:gd name="connsiteY63" fmla="*/ 671513 h 6858000"/>
              <a:gd name="connsiteX64" fmla="*/ 1036321 w 11420409"/>
              <a:gd name="connsiteY64" fmla="*/ 194310 h 6858000"/>
              <a:gd name="connsiteX65" fmla="*/ 1318737 w 11420409"/>
              <a:gd name="connsiteY65" fmla="*/ 70644 h 6858000"/>
              <a:gd name="connsiteX66" fmla="*/ 1493836 w 11420409"/>
              <a:gd name="connsiteY66" fmla="*/ 0 h 6858000"/>
              <a:gd name="connsiteX0" fmla="*/ 10829453 w 11046723"/>
              <a:gd name="connsiteY0" fmla="*/ 1199865 h 6858000"/>
              <a:gd name="connsiteX1" fmla="*/ 10830227 w 11046723"/>
              <a:gd name="connsiteY1" fmla="*/ 1200518 h 6858000"/>
              <a:gd name="connsiteX2" fmla="*/ 10836860 w 11046723"/>
              <a:gd name="connsiteY2" fmla="*/ 1206669 h 6858000"/>
              <a:gd name="connsiteX3" fmla="*/ 10829453 w 11046723"/>
              <a:gd name="connsiteY3" fmla="*/ 1199865 h 6858000"/>
              <a:gd name="connsiteX4" fmla="*/ 10586019 w 11046723"/>
              <a:gd name="connsiteY4" fmla="*/ 995058 h 6858000"/>
              <a:gd name="connsiteX5" fmla="*/ 10594661 w 11046723"/>
              <a:gd name="connsiteY5" fmla="*/ 1001698 h 6858000"/>
              <a:gd name="connsiteX6" fmla="*/ 10635916 w 11046723"/>
              <a:gd name="connsiteY6" fmla="*/ 1036517 h 6858000"/>
              <a:gd name="connsiteX7" fmla="*/ 10586019 w 11046723"/>
              <a:gd name="connsiteY7" fmla="*/ 995058 h 6858000"/>
              <a:gd name="connsiteX8" fmla="*/ 10333954 w 11046723"/>
              <a:gd name="connsiteY8" fmla="*/ 802539 h 6858000"/>
              <a:gd name="connsiteX9" fmla="*/ 10350933 w 11046723"/>
              <a:gd name="connsiteY9" fmla="*/ 814415 h 6858000"/>
              <a:gd name="connsiteX10" fmla="*/ 10404349 w 11046723"/>
              <a:gd name="connsiteY10" fmla="*/ 855460 h 6858000"/>
              <a:gd name="connsiteX11" fmla="*/ 10333954 w 11046723"/>
              <a:gd name="connsiteY11" fmla="*/ 802539 h 6858000"/>
              <a:gd name="connsiteX12" fmla="*/ 10157163 w 11046723"/>
              <a:gd name="connsiteY12" fmla="*/ 678888 h 6858000"/>
              <a:gd name="connsiteX13" fmla="*/ 10099498 w 11046723"/>
              <a:gd name="connsiteY13" fmla="*/ 638556 h 6858000"/>
              <a:gd name="connsiteX14" fmla="*/ 10157163 w 11046723"/>
              <a:gd name="connsiteY14" fmla="*/ 678888 h 6858000"/>
              <a:gd name="connsiteX15" fmla="*/ 5416523 w 11046723"/>
              <a:gd name="connsiteY15" fmla="*/ 392344 h 6858000"/>
              <a:gd name="connsiteX16" fmla="*/ 7023101 w 11046723"/>
              <a:gd name="connsiteY16" fmla="*/ 661672 h 6858000"/>
              <a:gd name="connsiteX17" fmla="*/ 9331960 w 11046723"/>
              <a:gd name="connsiteY17" fmla="*/ 2457451 h 6858000"/>
              <a:gd name="connsiteX18" fmla="*/ 10982484 w 11046723"/>
              <a:gd name="connsiteY18" fmla="*/ 4320382 h 6858000"/>
              <a:gd name="connsiteX19" fmla="*/ 11046723 w 11046723"/>
              <a:gd name="connsiteY19" fmla="*/ 4399855 h 6858000"/>
              <a:gd name="connsiteX20" fmla="*/ 10950686 w 11046723"/>
              <a:gd name="connsiteY20" fmla="*/ 4415959 h 6858000"/>
              <a:gd name="connsiteX21" fmla="*/ 9269729 w 11046723"/>
              <a:gd name="connsiteY21" fmla="*/ 5092699 h 6858000"/>
              <a:gd name="connsiteX22" fmla="*/ 8111807 w 11046723"/>
              <a:gd name="connsiteY22" fmla="*/ 6820535 h 6858000"/>
              <a:gd name="connsiteX23" fmla="*/ 8096827 w 11046723"/>
              <a:gd name="connsiteY23" fmla="*/ 6858000 h 6858000"/>
              <a:gd name="connsiteX24" fmla="*/ 0 w 11046723"/>
              <a:gd name="connsiteY24" fmla="*/ 6858000 h 6858000"/>
              <a:gd name="connsiteX25" fmla="*/ 0 w 11046723"/>
              <a:gd name="connsiteY25" fmla="*/ 1312476 h 6858000"/>
              <a:gd name="connsiteX26" fmla="*/ 393384 w 11046723"/>
              <a:gd name="connsiteY26" fmla="*/ 1170010 h 6858000"/>
              <a:gd name="connsiteX27" fmla="*/ 1790701 w 11046723"/>
              <a:gd name="connsiteY27" fmla="*/ 836932 h 6858000"/>
              <a:gd name="connsiteX28" fmla="*/ 5416523 w 11046723"/>
              <a:gd name="connsiteY28" fmla="*/ 392344 h 6858000"/>
              <a:gd name="connsiteX29" fmla="*/ 7788060 w 11046723"/>
              <a:gd name="connsiteY29" fmla="*/ 373174 h 6858000"/>
              <a:gd name="connsiteX30" fmla="*/ 7951989 w 11046723"/>
              <a:gd name="connsiteY30" fmla="*/ 496695 h 6858000"/>
              <a:gd name="connsiteX31" fmla="*/ 8131809 w 11046723"/>
              <a:gd name="connsiteY31" fmla="*/ 618490 h 6858000"/>
              <a:gd name="connsiteX32" fmla="*/ 10486389 w 11046723"/>
              <a:gd name="connsiteY32" fmla="*/ 1795780 h 6858000"/>
              <a:gd name="connsiteX33" fmla="*/ 8131810 w 11046723"/>
              <a:gd name="connsiteY33" fmla="*/ 619761 h 6858000"/>
              <a:gd name="connsiteX34" fmla="*/ 7927023 w 11046723"/>
              <a:gd name="connsiteY34" fmla="*/ 479920 h 6858000"/>
              <a:gd name="connsiteX35" fmla="*/ 7788060 w 11046723"/>
              <a:gd name="connsiteY35" fmla="*/ 373174 h 6858000"/>
              <a:gd name="connsiteX36" fmla="*/ 7778945 w 11046723"/>
              <a:gd name="connsiteY36" fmla="*/ 366172 h 6858000"/>
              <a:gd name="connsiteX37" fmla="*/ 7788060 w 11046723"/>
              <a:gd name="connsiteY37" fmla="*/ 373174 h 6858000"/>
              <a:gd name="connsiteX38" fmla="*/ 7780464 w 11046723"/>
              <a:gd name="connsiteY38" fmla="*/ 367450 h 6858000"/>
              <a:gd name="connsiteX39" fmla="*/ 7778945 w 11046723"/>
              <a:gd name="connsiteY39" fmla="*/ 366172 h 6858000"/>
              <a:gd name="connsiteX40" fmla="*/ 7544713 w 11046723"/>
              <a:gd name="connsiteY40" fmla="*/ 169063 h 6858000"/>
              <a:gd name="connsiteX41" fmla="*/ 7778945 w 11046723"/>
              <a:gd name="connsiteY41" fmla="*/ 366172 h 6858000"/>
              <a:gd name="connsiteX42" fmla="*/ 7732713 w 11046723"/>
              <a:gd name="connsiteY42" fmla="*/ 330658 h 6858000"/>
              <a:gd name="connsiteX43" fmla="*/ 7544713 w 11046723"/>
              <a:gd name="connsiteY43" fmla="*/ 169063 h 6858000"/>
              <a:gd name="connsiteX44" fmla="*/ 7414333 w 11046723"/>
              <a:gd name="connsiteY44" fmla="*/ 56995 h 6858000"/>
              <a:gd name="connsiteX45" fmla="*/ 7544713 w 11046723"/>
              <a:gd name="connsiteY45" fmla="*/ 169063 h 6858000"/>
              <a:gd name="connsiteX46" fmla="*/ 7454642 w 11046723"/>
              <a:gd name="connsiteY46" fmla="*/ 93267 h 6858000"/>
              <a:gd name="connsiteX47" fmla="*/ 7414333 w 11046723"/>
              <a:gd name="connsiteY47" fmla="*/ 56995 h 6858000"/>
              <a:gd name="connsiteX48" fmla="*/ 7348739 w 11046723"/>
              <a:gd name="connsiteY48" fmla="*/ 0 h 6858000"/>
              <a:gd name="connsiteX49" fmla="*/ 7350996 w 11046723"/>
              <a:gd name="connsiteY49" fmla="*/ 0 h 6858000"/>
              <a:gd name="connsiteX50" fmla="*/ 7414333 w 11046723"/>
              <a:gd name="connsiteY50" fmla="*/ 56995 h 6858000"/>
              <a:gd name="connsiteX51" fmla="*/ 7364096 w 11046723"/>
              <a:gd name="connsiteY51" fmla="*/ 13813 h 6858000"/>
              <a:gd name="connsiteX52" fmla="*/ 7348739 w 11046723"/>
              <a:gd name="connsiteY52" fmla="*/ 0 h 6858000"/>
              <a:gd name="connsiteX53" fmla="*/ 1493836 w 11046723"/>
              <a:gd name="connsiteY53" fmla="*/ 0 h 6858000"/>
              <a:gd name="connsiteX54" fmla="*/ 1493841 w 11046723"/>
              <a:gd name="connsiteY54" fmla="*/ 0 h 6858000"/>
              <a:gd name="connsiteX55" fmla="*/ 1318737 w 11046723"/>
              <a:gd name="connsiteY55" fmla="*/ 70646 h 6858000"/>
              <a:gd name="connsiteX56" fmla="*/ 1036321 w 11046723"/>
              <a:gd name="connsiteY56" fmla="*/ 194312 h 6858000"/>
              <a:gd name="connsiteX57" fmla="*/ 130672 w 11046723"/>
              <a:gd name="connsiteY57" fmla="*/ 671514 h 6858000"/>
              <a:gd name="connsiteX58" fmla="*/ 0 w 11046723"/>
              <a:gd name="connsiteY58" fmla="*/ 747683 h 6858000"/>
              <a:gd name="connsiteX59" fmla="*/ 0 w 11046723"/>
              <a:gd name="connsiteY59" fmla="*/ 747682 h 6858000"/>
              <a:gd name="connsiteX60" fmla="*/ 130672 w 11046723"/>
              <a:gd name="connsiteY60" fmla="*/ 671513 h 6858000"/>
              <a:gd name="connsiteX61" fmla="*/ 1036321 w 11046723"/>
              <a:gd name="connsiteY61" fmla="*/ 194310 h 6858000"/>
              <a:gd name="connsiteX62" fmla="*/ 1318737 w 11046723"/>
              <a:gd name="connsiteY62" fmla="*/ 70644 h 6858000"/>
              <a:gd name="connsiteX63" fmla="*/ 1493836 w 11046723"/>
              <a:gd name="connsiteY63" fmla="*/ 0 h 6858000"/>
              <a:gd name="connsiteX0" fmla="*/ 10836860 w 11046723"/>
              <a:gd name="connsiteY0" fmla="*/ 1206669 h 6858000"/>
              <a:gd name="connsiteX1" fmla="*/ 10830227 w 11046723"/>
              <a:gd name="connsiteY1" fmla="*/ 1200518 h 6858000"/>
              <a:gd name="connsiteX2" fmla="*/ 10836860 w 11046723"/>
              <a:gd name="connsiteY2" fmla="*/ 1206669 h 6858000"/>
              <a:gd name="connsiteX3" fmla="*/ 10586019 w 11046723"/>
              <a:gd name="connsiteY3" fmla="*/ 995058 h 6858000"/>
              <a:gd name="connsiteX4" fmla="*/ 10594661 w 11046723"/>
              <a:gd name="connsiteY4" fmla="*/ 1001698 h 6858000"/>
              <a:gd name="connsiteX5" fmla="*/ 10635916 w 11046723"/>
              <a:gd name="connsiteY5" fmla="*/ 1036517 h 6858000"/>
              <a:gd name="connsiteX6" fmla="*/ 10586019 w 11046723"/>
              <a:gd name="connsiteY6" fmla="*/ 995058 h 6858000"/>
              <a:gd name="connsiteX7" fmla="*/ 10333954 w 11046723"/>
              <a:gd name="connsiteY7" fmla="*/ 802539 h 6858000"/>
              <a:gd name="connsiteX8" fmla="*/ 10350933 w 11046723"/>
              <a:gd name="connsiteY8" fmla="*/ 814415 h 6858000"/>
              <a:gd name="connsiteX9" fmla="*/ 10404349 w 11046723"/>
              <a:gd name="connsiteY9" fmla="*/ 855460 h 6858000"/>
              <a:gd name="connsiteX10" fmla="*/ 10333954 w 11046723"/>
              <a:gd name="connsiteY10" fmla="*/ 802539 h 6858000"/>
              <a:gd name="connsiteX11" fmla="*/ 10157163 w 11046723"/>
              <a:gd name="connsiteY11" fmla="*/ 678888 h 6858000"/>
              <a:gd name="connsiteX12" fmla="*/ 10099498 w 11046723"/>
              <a:gd name="connsiteY12" fmla="*/ 638556 h 6858000"/>
              <a:gd name="connsiteX13" fmla="*/ 10157163 w 11046723"/>
              <a:gd name="connsiteY13" fmla="*/ 678888 h 6858000"/>
              <a:gd name="connsiteX14" fmla="*/ 5416523 w 11046723"/>
              <a:gd name="connsiteY14" fmla="*/ 392344 h 6858000"/>
              <a:gd name="connsiteX15" fmla="*/ 7023101 w 11046723"/>
              <a:gd name="connsiteY15" fmla="*/ 661672 h 6858000"/>
              <a:gd name="connsiteX16" fmla="*/ 9331960 w 11046723"/>
              <a:gd name="connsiteY16" fmla="*/ 2457451 h 6858000"/>
              <a:gd name="connsiteX17" fmla="*/ 10982484 w 11046723"/>
              <a:gd name="connsiteY17" fmla="*/ 4320382 h 6858000"/>
              <a:gd name="connsiteX18" fmla="*/ 11046723 w 11046723"/>
              <a:gd name="connsiteY18" fmla="*/ 4399855 h 6858000"/>
              <a:gd name="connsiteX19" fmla="*/ 10950686 w 11046723"/>
              <a:gd name="connsiteY19" fmla="*/ 4415959 h 6858000"/>
              <a:gd name="connsiteX20" fmla="*/ 9269729 w 11046723"/>
              <a:gd name="connsiteY20" fmla="*/ 5092699 h 6858000"/>
              <a:gd name="connsiteX21" fmla="*/ 8111807 w 11046723"/>
              <a:gd name="connsiteY21" fmla="*/ 6820535 h 6858000"/>
              <a:gd name="connsiteX22" fmla="*/ 8096827 w 11046723"/>
              <a:gd name="connsiteY22" fmla="*/ 6858000 h 6858000"/>
              <a:gd name="connsiteX23" fmla="*/ 0 w 11046723"/>
              <a:gd name="connsiteY23" fmla="*/ 6858000 h 6858000"/>
              <a:gd name="connsiteX24" fmla="*/ 0 w 11046723"/>
              <a:gd name="connsiteY24" fmla="*/ 1312476 h 6858000"/>
              <a:gd name="connsiteX25" fmla="*/ 393384 w 11046723"/>
              <a:gd name="connsiteY25" fmla="*/ 1170010 h 6858000"/>
              <a:gd name="connsiteX26" fmla="*/ 1790701 w 11046723"/>
              <a:gd name="connsiteY26" fmla="*/ 836932 h 6858000"/>
              <a:gd name="connsiteX27" fmla="*/ 5416523 w 11046723"/>
              <a:gd name="connsiteY27" fmla="*/ 392344 h 6858000"/>
              <a:gd name="connsiteX28" fmla="*/ 7788060 w 11046723"/>
              <a:gd name="connsiteY28" fmla="*/ 373174 h 6858000"/>
              <a:gd name="connsiteX29" fmla="*/ 7951989 w 11046723"/>
              <a:gd name="connsiteY29" fmla="*/ 496695 h 6858000"/>
              <a:gd name="connsiteX30" fmla="*/ 8131809 w 11046723"/>
              <a:gd name="connsiteY30" fmla="*/ 618490 h 6858000"/>
              <a:gd name="connsiteX31" fmla="*/ 10486389 w 11046723"/>
              <a:gd name="connsiteY31" fmla="*/ 1795780 h 6858000"/>
              <a:gd name="connsiteX32" fmla="*/ 8131810 w 11046723"/>
              <a:gd name="connsiteY32" fmla="*/ 619761 h 6858000"/>
              <a:gd name="connsiteX33" fmla="*/ 7927023 w 11046723"/>
              <a:gd name="connsiteY33" fmla="*/ 479920 h 6858000"/>
              <a:gd name="connsiteX34" fmla="*/ 7788060 w 11046723"/>
              <a:gd name="connsiteY34" fmla="*/ 373174 h 6858000"/>
              <a:gd name="connsiteX35" fmla="*/ 7778945 w 11046723"/>
              <a:gd name="connsiteY35" fmla="*/ 366172 h 6858000"/>
              <a:gd name="connsiteX36" fmla="*/ 7788060 w 11046723"/>
              <a:gd name="connsiteY36" fmla="*/ 373174 h 6858000"/>
              <a:gd name="connsiteX37" fmla="*/ 7780464 w 11046723"/>
              <a:gd name="connsiteY37" fmla="*/ 367450 h 6858000"/>
              <a:gd name="connsiteX38" fmla="*/ 7778945 w 11046723"/>
              <a:gd name="connsiteY38" fmla="*/ 366172 h 6858000"/>
              <a:gd name="connsiteX39" fmla="*/ 7544713 w 11046723"/>
              <a:gd name="connsiteY39" fmla="*/ 169063 h 6858000"/>
              <a:gd name="connsiteX40" fmla="*/ 7778945 w 11046723"/>
              <a:gd name="connsiteY40" fmla="*/ 366172 h 6858000"/>
              <a:gd name="connsiteX41" fmla="*/ 7732713 w 11046723"/>
              <a:gd name="connsiteY41" fmla="*/ 330658 h 6858000"/>
              <a:gd name="connsiteX42" fmla="*/ 7544713 w 11046723"/>
              <a:gd name="connsiteY42" fmla="*/ 169063 h 6858000"/>
              <a:gd name="connsiteX43" fmla="*/ 7414333 w 11046723"/>
              <a:gd name="connsiteY43" fmla="*/ 56995 h 6858000"/>
              <a:gd name="connsiteX44" fmla="*/ 7544713 w 11046723"/>
              <a:gd name="connsiteY44" fmla="*/ 169063 h 6858000"/>
              <a:gd name="connsiteX45" fmla="*/ 7454642 w 11046723"/>
              <a:gd name="connsiteY45" fmla="*/ 93267 h 6858000"/>
              <a:gd name="connsiteX46" fmla="*/ 7414333 w 11046723"/>
              <a:gd name="connsiteY46" fmla="*/ 56995 h 6858000"/>
              <a:gd name="connsiteX47" fmla="*/ 7348739 w 11046723"/>
              <a:gd name="connsiteY47" fmla="*/ 0 h 6858000"/>
              <a:gd name="connsiteX48" fmla="*/ 7350996 w 11046723"/>
              <a:gd name="connsiteY48" fmla="*/ 0 h 6858000"/>
              <a:gd name="connsiteX49" fmla="*/ 7414333 w 11046723"/>
              <a:gd name="connsiteY49" fmla="*/ 56995 h 6858000"/>
              <a:gd name="connsiteX50" fmla="*/ 7364096 w 11046723"/>
              <a:gd name="connsiteY50" fmla="*/ 13813 h 6858000"/>
              <a:gd name="connsiteX51" fmla="*/ 7348739 w 11046723"/>
              <a:gd name="connsiteY51" fmla="*/ 0 h 6858000"/>
              <a:gd name="connsiteX52" fmla="*/ 1493836 w 11046723"/>
              <a:gd name="connsiteY52" fmla="*/ 0 h 6858000"/>
              <a:gd name="connsiteX53" fmla="*/ 1493841 w 11046723"/>
              <a:gd name="connsiteY53" fmla="*/ 0 h 6858000"/>
              <a:gd name="connsiteX54" fmla="*/ 1318737 w 11046723"/>
              <a:gd name="connsiteY54" fmla="*/ 70646 h 6858000"/>
              <a:gd name="connsiteX55" fmla="*/ 1036321 w 11046723"/>
              <a:gd name="connsiteY55" fmla="*/ 194312 h 6858000"/>
              <a:gd name="connsiteX56" fmla="*/ 130672 w 11046723"/>
              <a:gd name="connsiteY56" fmla="*/ 671514 h 6858000"/>
              <a:gd name="connsiteX57" fmla="*/ 0 w 11046723"/>
              <a:gd name="connsiteY57" fmla="*/ 747683 h 6858000"/>
              <a:gd name="connsiteX58" fmla="*/ 0 w 11046723"/>
              <a:gd name="connsiteY58" fmla="*/ 747682 h 6858000"/>
              <a:gd name="connsiteX59" fmla="*/ 130672 w 11046723"/>
              <a:gd name="connsiteY59" fmla="*/ 671513 h 6858000"/>
              <a:gd name="connsiteX60" fmla="*/ 1036321 w 11046723"/>
              <a:gd name="connsiteY60" fmla="*/ 194310 h 6858000"/>
              <a:gd name="connsiteX61" fmla="*/ 1318737 w 11046723"/>
              <a:gd name="connsiteY61" fmla="*/ 70644 h 6858000"/>
              <a:gd name="connsiteX62" fmla="*/ 1493836 w 11046723"/>
              <a:gd name="connsiteY62" fmla="*/ 0 h 6858000"/>
              <a:gd name="connsiteX0" fmla="*/ 10586019 w 11046723"/>
              <a:gd name="connsiteY0" fmla="*/ 995058 h 6858000"/>
              <a:gd name="connsiteX1" fmla="*/ 10594661 w 11046723"/>
              <a:gd name="connsiteY1" fmla="*/ 1001698 h 6858000"/>
              <a:gd name="connsiteX2" fmla="*/ 10635916 w 11046723"/>
              <a:gd name="connsiteY2" fmla="*/ 1036517 h 6858000"/>
              <a:gd name="connsiteX3" fmla="*/ 10586019 w 11046723"/>
              <a:gd name="connsiteY3" fmla="*/ 995058 h 6858000"/>
              <a:gd name="connsiteX4" fmla="*/ 10333954 w 11046723"/>
              <a:gd name="connsiteY4" fmla="*/ 802539 h 6858000"/>
              <a:gd name="connsiteX5" fmla="*/ 10350933 w 11046723"/>
              <a:gd name="connsiteY5" fmla="*/ 814415 h 6858000"/>
              <a:gd name="connsiteX6" fmla="*/ 10404349 w 11046723"/>
              <a:gd name="connsiteY6" fmla="*/ 855460 h 6858000"/>
              <a:gd name="connsiteX7" fmla="*/ 10333954 w 11046723"/>
              <a:gd name="connsiteY7" fmla="*/ 802539 h 6858000"/>
              <a:gd name="connsiteX8" fmla="*/ 10157163 w 11046723"/>
              <a:gd name="connsiteY8" fmla="*/ 678888 h 6858000"/>
              <a:gd name="connsiteX9" fmla="*/ 10099498 w 11046723"/>
              <a:gd name="connsiteY9" fmla="*/ 638556 h 6858000"/>
              <a:gd name="connsiteX10" fmla="*/ 10157163 w 11046723"/>
              <a:gd name="connsiteY10" fmla="*/ 678888 h 6858000"/>
              <a:gd name="connsiteX11" fmla="*/ 5416523 w 11046723"/>
              <a:gd name="connsiteY11" fmla="*/ 392344 h 6858000"/>
              <a:gd name="connsiteX12" fmla="*/ 7023101 w 11046723"/>
              <a:gd name="connsiteY12" fmla="*/ 661672 h 6858000"/>
              <a:gd name="connsiteX13" fmla="*/ 9331960 w 11046723"/>
              <a:gd name="connsiteY13" fmla="*/ 2457451 h 6858000"/>
              <a:gd name="connsiteX14" fmla="*/ 10982484 w 11046723"/>
              <a:gd name="connsiteY14" fmla="*/ 4320382 h 6858000"/>
              <a:gd name="connsiteX15" fmla="*/ 11046723 w 11046723"/>
              <a:gd name="connsiteY15" fmla="*/ 4399855 h 6858000"/>
              <a:gd name="connsiteX16" fmla="*/ 10950686 w 11046723"/>
              <a:gd name="connsiteY16" fmla="*/ 4415959 h 6858000"/>
              <a:gd name="connsiteX17" fmla="*/ 9269729 w 11046723"/>
              <a:gd name="connsiteY17" fmla="*/ 5092699 h 6858000"/>
              <a:gd name="connsiteX18" fmla="*/ 8111807 w 11046723"/>
              <a:gd name="connsiteY18" fmla="*/ 6820535 h 6858000"/>
              <a:gd name="connsiteX19" fmla="*/ 8096827 w 11046723"/>
              <a:gd name="connsiteY19" fmla="*/ 6858000 h 6858000"/>
              <a:gd name="connsiteX20" fmla="*/ 0 w 11046723"/>
              <a:gd name="connsiteY20" fmla="*/ 6858000 h 6858000"/>
              <a:gd name="connsiteX21" fmla="*/ 0 w 11046723"/>
              <a:gd name="connsiteY21" fmla="*/ 1312476 h 6858000"/>
              <a:gd name="connsiteX22" fmla="*/ 393384 w 11046723"/>
              <a:gd name="connsiteY22" fmla="*/ 1170010 h 6858000"/>
              <a:gd name="connsiteX23" fmla="*/ 1790701 w 11046723"/>
              <a:gd name="connsiteY23" fmla="*/ 836932 h 6858000"/>
              <a:gd name="connsiteX24" fmla="*/ 5416523 w 11046723"/>
              <a:gd name="connsiteY24" fmla="*/ 392344 h 6858000"/>
              <a:gd name="connsiteX25" fmla="*/ 7788060 w 11046723"/>
              <a:gd name="connsiteY25" fmla="*/ 373174 h 6858000"/>
              <a:gd name="connsiteX26" fmla="*/ 7951989 w 11046723"/>
              <a:gd name="connsiteY26" fmla="*/ 496695 h 6858000"/>
              <a:gd name="connsiteX27" fmla="*/ 8131809 w 11046723"/>
              <a:gd name="connsiteY27" fmla="*/ 618490 h 6858000"/>
              <a:gd name="connsiteX28" fmla="*/ 10486389 w 11046723"/>
              <a:gd name="connsiteY28" fmla="*/ 1795780 h 6858000"/>
              <a:gd name="connsiteX29" fmla="*/ 8131810 w 11046723"/>
              <a:gd name="connsiteY29" fmla="*/ 619761 h 6858000"/>
              <a:gd name="connsiteX30" fmla="*/ 7927023 w 11046723"/>
              <a:gd name="connsiteY30" fmla="*/ 479920 h 6858000"/>
              <a:gd name="connsiteX31" fmla="*/ 7788060 w 11046723"/>
              <a:gd name="connsiteY31" fmla="*/ 373174 h 6858000"/>
              <a:gd name="connsiteX32" fmla="*/ 7778945 w 11046723"/>
              <a:gd name="connsiteY32" fmla="*/ 366172 h 6858000"/>
              <a:gd name="connsiteX33" fmla="*/ 7788060 w 11046723"/>
              <a:gd name="connsiteY33" fmla="*/ 373174 h 6858000"/>
              <a:gd name="connsiteX34" fmla="*/ 7780464 w 11046723"/>
              <a:gd name="connsiteY34" fmla="*/ 367450 h 6858000"/>
              <a:gd name="connsiteX35" fmla="*/ 7778945 w 11046723"/>
              <a:gd name="connsiteY35" fmla="*/ 366172 h 6858000"/>
              <a:gd name="connsiteX36" fmla="*/ 7544713 w 11046723"/>
              <a:gd name="connsiteY36" fmla="*/ 169063 h 6858000"/>
              <a:gd name="connsiteX37" fmla="*/ 7778945 w 11046723"/>
              <a:gd name="connsiteY37" fmla="*/ 366172 h 6858000"/>
              <a:gd name="connsiteX38" fmla="*/ 7732713 w 11046723"/>
              <a:gd name="connsiteY38" fmla="*/ 330658 h 6858000"/>
              <a:gd name="connsiteX39" fmla="*/ 7544713 w 11046723"/>
              <a:gd name="connsiteY39" fmla="*/ 169063 h 6858000"/>
              <a:gd name="connsiteX40" fmla="*/ 7414333 w 11046723"/>
              <a:gd name="connsiteY40" fmla="*/ 56995 h 6858000"/>
              <a:gd name="connsiteX41" fmla="*/ 7544713 w 11046723"/>
              <a:gd name="connsiteY41" fmla="*/ 169063 h 6858000"/>
              <a:gd name="connsiteX42" fmla="*/ 7454642 w 11046723"/>
              <a:gd name="connsiteY42" fmla="*/ 93267 h 6858000"/>
              <a:gd name="connsiteX43" fmla="*/ 7414333 w 11046723"/>
              <a:gd name="connsiteY43" fmla="*/ 56995 h 6858000"/>
              <a:gd name="connsiteX44" fmla="*/ 7348739 w 11046723"/>
              <a:gd name="connsiteY44" fmla="*/ 0 h 6858000"/>
              <a:gd name="connsiteX45" fmla="*/ 7350996 w 11046723"/>
              <a:gd name="connsiteY45" fmla="*/ 0 h 6858000"/>
              <a:gd name="connsiteX46" fmla="*/ 7414333 w 11046723"/>
              <a:gd name="connsiteY46" fmla="*/ 56995 h 6858000"/>
              <a:gd name="connsiteX47" fmla="*/ 7364096 w 11046723"/>
              <a:gd name="connsiteY47" fmla="*/ 13813 h 6858000"/>
              <a:gd name="connsiteX48" fmla="*/ 7348739 w 11046723"/>
              <a:gd name="connsiteY48" fmla="*/ 0 h 6858000"/>
              <a:gd name="connsiteX49" fmla="*/ 1493836 w 11046723"/>
              <a:gd name="connsiteY49" fmla="*/ 0 h 6858000"/>
              <a:gd name="connsiteX50" fmla="*/ 1493841 w 11046723"/>
              <a:gd name="connsiteY50" fmla="*/ 0 h 6858000"/>
              <a:gd name="connsiteX51" fmla="*/ 1318737 w 11046723"/>
              <a:gd name="connsiteY51" fmla="*/ 70646 h 6858000"/>
              <a:gd name="connsiteX52" fmla="*/ 1036321 w 11046723"/>
              <a:gd name="connsiteY52" fmla="*/ 194312 h 6858000"/>
              <a:gd name="connsiteX53" fmla="*/ 130672 w 11046723"/>
              <a:gd name="connsiteY53" fmla="*/ 671514 h 6858000"/>
              <a:gd name="connsiteX54" fmla="*/ 0 w 11046723"/>
              <a:gd name="connsiteY54" fmla="*/ 747683 h 6858000"/>
              <a:gd name="connsiteX55" fmla="*/ 0 w 11046723"/>
              <a:gd name="connsiteY55" fmla="*/ 747682 h 6858000"/>
              <a:gd name="connsiteX56" fmla="*/ 130672 w 11046723"/>
              <a:gd name="connsiteY56" fmla="*/ 671513 h 6858000"/>
              <a:gd name="connsiteX57" fmla="*/ 1036321 w 11046723"/>
              <a:gd name="connsiteY57" fmla="*/ 194310 h 6858000"/>
              <a:gd name="connsiteX58" fmla="*/ 1318737 w 11046723"/>
              <a:gd name="connsiteY58" fmla="*/ 70644 h 6858000"/>
              <a:gd name="connsiteX59" fmla="*/ 1493836 w 11046723"/>
              <a:gd name="connsiteY59" fmla="*/ 0 h 6858000"/>
              <a:gd name="connsiteX0" fmla="*/ 10635916 w 11046723"/>
              <a:gd name="connsiteY0" fmla="*/ 1036517 h 6858000"/>
              <a:gd name="connsiteX1" fmla="*/ 10594661 w 11046723"/>
              <a:gd name="connsiteY1" fmla="*/ 1001698 h 6858000"/>
              <a:gd name="connsiteX2" fmla="*/ 10635916 w 11046723"/>
              <a:gd name="connsiteY2" fmla="*/ 1036517 h 6858000"/>
              <a:gd name="connsiteX3" fmla="*/ 10333954 w 11046723"/>
              <a:gd name="connsiteY3" fmla="*/ 802539 h 6858000"/>
              <a:gd name="connsiteX4" fmla="*/ 10350933 w 11046723"/>
              <a:gd name="connsiteY4" fmla="*/ 814415 h 6858000"/>
              <a:gd name="connsiteX5" fmla="*/ 10404349 w 11046723"/>
              <a:gd name="connsiteY5" fmla="*/ 855460 h 6858000"/>
              <a:gd name="connsiteX6" fmla="*/ 10333954 w 11046723"/>
              <a:gd name="connsiteY6" fmla="*/ 802539 h 6858000"/>
              <a:gd name="connsiteX7" fmla="*/ 10157163 w 11046723"/>
              <a:gd name="connsiteY7" fmla="*/ 678888 h 6858000"/>
              <a:gd name="connsiteX8" fmla="*/ 10099498 w 11046723"/>
              <a:gd name="connsiteY8" fmla="*/ 638556 h 6858000"/>
              <a:gd name="connsiteX9" fmla="*/ 10157163 w 11046723"/>
              <a:gd name="connsiteY9" fmla="*/ 678888 h 6858000"/>
              <a:gd name="connsiteX10" fmla="*/ 5416523 w 11046723"/>
              <a:gd name="connsiteY10" fmla="*/ 392344 h 6858000"/>
              <a:gd name="connsiteX11" fmla="*/ 7023101 w 11046723"/>
              <a:gd name="connsiteY11" fmla="*/ 661672 h 6858000"/>
              <a:gd name="connsiteX12" fmla="*/ 9331960 w 11046723"/>
              <a:gd name="connsiteY12" fmla="*/ 2457451 h 6858000"/>
              <a:gd name="connsiteX13" fmla="*/ 10982484 w 11046723"/>
              <a:gd name="connsiteY13" fmla="*/ 4320382 h 6858000"/>
              <a:gd name="connsiteX14" fmla="*/ 11046723 w 11046723"/>
              <a:gd name="connsiteY14" fmla="*/ 4399855 h 6858000"/>
              <a:gd name="connsiteX15" fmla="*/ 10950686 w 11046723"/>
              <a:gd name="connsiteY15" fmla="*/ 4415959 h 6858000"/>
              <a:gd name="connsiteX16" fmla="*/ 9269729 w 11046723"/>
              <a:gd name="connsiteY16" fmla="*/ 5092699 h 6858000"/>
              <a:gd name="connsiteX17" fmla="*/ 8111807 w 11046723"/>
              <a:gd name="connsiteY17" fmla="*/ 6820535 h 6858000"/>
              <a:gd name="connsiteX18" fmla="*/ 8096827 w 11046723"/>
              <a:gd name="connsiteY18" fmla="*/ 6858000 h 6858000"/>
              <a:gd name="connsiteX19" fmla="*/ 0 w 11046723"/>
              <a:gd name="connsiteY19" fmla="*/ 6858000 h 6858000"/>
              <a:gd name="connsiteX20" fmla="*/ 0 w 11046723"/>
              <a:gd name="connsiteY20" fmla="*/ 1312476 h 6858000"/>
              <a:gd name="connsiteX21" fmla="*/ 393384 w 11046723"/>
              <a:gd name="connsiteY21" fmla="*/ 1170010 h 6858000"/>
              <a:gd name="connsiteX22" fmla="*/ 1790701 w 11046723"/>
              <a:gd name="connsiteY22" fmla="*/ 836932 h 6858000"/>
              <a:gd name="connsiteX23" fmla="*/ 5416523 w 11046723"/>
              <a:gd name="connsiteY23" fmla="*/ 392344 h 6858000"/>
              <a:gd name="connsiteX24" fmla="*/ 7788060 w 11046723"/>
              <a:gd name="connsiteY24" fmla="*/ 373174 h 6858000"/>
              <a:gd name="connsiteX25" fmla="*/ 7951989 w 11046723"/>
              <a:gd name="connsiteY25" fmla="*/ 496695 h 6858000"/>
              <a:gd name="connsiteX26" fmla="*/ 8131809 w 11046723"/>
              <a:gd name="connsiteY26" fmla="*/ 618490 h 6858000"/>
              <a:gd name="connsiteX27" fmla="*/ 10486389 w 11046723"/>
              <a:gd name="connsiteY27" fmla="*/ 1795780 h 6858000"/>
              <a:gd name="connsiteX28" fmla="*/ 8131810 w 11046723"/>
              <a:gd name="connsiteY28" fmla="*/ 619761 h 6858000"/>
              <a:gd name="connsiteX29" fmla="*/ 7927023 w 11046723"/>
              <a:gd name="connsiteY29" fmla="*/ 479920 h 6858000"/>
              <a:gd name="connsiteX30" fmla="*/ 7788060 w 11046723"/>
              <a:gd name="connsiteY30" fmla="*/ 373174 h 6858000"/>
              <a:gd name="connsiteX31" fmla="*/ 7778945 w 11046723"/>
              <a:gd name="connsiteY31" fmla="*/ 366172 h 6858000"/>
              <a:gd name="connsiteX32" fmla="*/ 7788060 w 11046723"/>
              <a:gd name="connsiteY32" fmla="*/ 373174 h 6858000"/>
              <a:gd name="connsiteX33" fmla="*/ 7780464 w 11046723"/>
              <a:gd name="connsiteY33" fmla="*/ 367450 h 6858000"/>
              <a:gd name="connsiteX34" fmla="*/ 7778945 w 11046723"/>
              <a:gd name="connsiteY34" fmla="*/ 366172 h 6858000"/>
              <a:gd name="connsiteX35" fmla="*/ 7544713 w 11046723"/>
              <a:gd name="connsiteY35" fmla="*/ 169063 h 6858000"/>
              <a:gd name="connsiteX36" fmla="*/ 7778945 w 11046723"/>
              <a:gd name="connsiteY36" fmla="*/ 366172 h 6858000"/>
              <a:gd name="connsiteX37" fmla="*/ 7732713 w 11046723"/>
              <a:gd name="connsiteY37" fmla="*/ 330658 h 6858000"/>
              <a:gd name="connsiteX38" fmla="*/ 7544713 w 11046723"/>
              <a:gd name="connsiteY38" fmla="*/ 169063 h 6858000"/>
              <a:gd name="connsiteX39" fmla="*/ 7414333 w 11046723"/>
              <a:gd name="connsiteY39" fmla="*/ 56995 h 6858000"/>
              <a:gd name="connsiteX40" fmla="*/ 7544713 w 11046723"/>
              <a:gd name="connsiteY40" fmla="*/ 169063 h 6858000"/>
              <a:gd name="connsiteX41" fmla="*/ 7454642 w 11046723"/>
              <a:gd name="connsiteY41" fmla="*/ 93267 h 6858000"/>
              <a:gd name="connsiteX42" fmla="*/ 7414333 w 11046723"/>
              <a:gd name="connsiteY42" fmla="*/ 56995 h 6858000"/>
              <a:gd name="connsiteX43" fmla="*/ 7348739 w 11046723"/>
              <a:gd name="connsiteY43" fmla="*/ 0 h 6858000"/>
              <a:gd name="connsiteX44" fmla="*/ 7350996 w 11046723"/>
              <a:gd name="connsiteY44" fmla="*/ 0 h 6858000"/>
              <a:gd name="connsiteX45" fmla="*/ 7414333 w 11046723"/>
              <a:gd name="connsiteY45" fmla="*/ 56995 h 6858000"/>
              <a:gd name="connsiteX46" fmla="*/ 7364096 w 11046723"/>
              <a:gd name="connsiteY46" fmla="*/ 13813 h 6858000"/>
              <a:gd name="connsiteX47" fmla="*/ 7348739 w 11046723"/>
              <a:gd name="connsiteY47" fmla="*/ 0 h 6858000"/>
              <a:gd name="connsiteX48" fmla="*/ 1493836 w 11046723"/>
              <a:gd name="connsiteY48" fmla="*/ 0 h 6858000"/>
              <a:gd name="connsiteX49" fmla="*/ 1493841 w 11046723"/>
              <a:gd name="connsiteY49" fmla="*/ 0 h 6858000"/>
              <a:gd name="connsiteX50" fmla="*/ 1318737 w 11046723"/>
              <a:gd name="connsiteY50" fmla="*/ 70646 h 6858000"/>
              <a:gd name="connsiteX51" fmla="*/ 1036321 w 11046723"/>
              <a:gd name="connsiteY51" fmla="*/ 194312 h 6858000"/>
              <a:gd name="connsiteX52" fmla="*/ 130672 w 11046723"/>
              <a:gd name="connsiteY52" fmla="*/ 671514 h 6858000"/>
              <a:gd name="connsiteX53" fmla="*/ 0 w 11046723"/>
              <a:gd name="connsiteY53" fmla="*/ 747683 h 6858000"/>
              <a:gd name="connsiteX54" fmla="*/ 0 w 11046723"/>
              <a:gd name="connsiteY54" fmla="*/ 747682 h 6858000"/>
              <a:gd name="connsiteX55" fmla="*/ 130672 w 11046723"/>
              <a:gd name="connsiteY55" fmla="*/ 671513 h 6858000"/>
              <a:gd name="connsiteX56" fmla="*/ 1036321 w 11046723"/>
              <a:gd name="connsiteY56" fmla="*/ 194310 h 6858000"/>
              <a:gd name="connsiteX57" fmla="*/ 1318737 w 11046723"/>
              <a:gd name="connsiteY57" fmla="*/ 70644 h 6858000"/>
              <a:gd name="connsiteX58" fmla="*/ 1493836 w 11046723"/>
              <a:gd name="connsiteY58" fmla="*/ 0 h 6858000"/>
              <a:gd name="connsiteX0" fmla="*/ 10333954 w 11046723"/>
              <a:gd name="connsiteY0" fmla="*/ 802539 h 6858000"/>
              <a:gd name="connsiteX1" fmla="*/ 10350933 w 11046723"/>
              <a:gd name="connsiteY1" fmla="*/ 814415 h 6858000"/>
              <a:gd name="connsiteX2" fmla="*/ 10404349 w 11046723"/>
              <a:gd name="connsiteY2" fmla="*/ 855460 h 6858000"/>
              <a:gd name="connsiteX3" fmla="*/ 10333954 w 11046723"/>
              <a:gd name="connsiteY3" fmla="*/ 802539 h 6858000"/>
              <a:gd name="connsiteX4" fmla="*/ 10157163 w 11046723"/>
              <a:gd name="connsiteY4" fmla="*/ 678888 h 6858000"/>
              <a:gd name="connsiteX5" fmla="*/ 10099498 w 11046723"/>
              <a:gd name="connsiteY5" fmla="*/ 638556 h 6858000"/>
              <a:gd name="connsiteX6" fmla="*/ 10157163 w 11046723"/>
              <a:gd name="connsiteY6" fmla="*/ 678888 h 6858000"/>
              <a:gd name="connsiteX7" fmla="*/ 5416523 w 11046723"/>
              <a:gd name="connsiteY7" fmla="*/ 392344 h 6858000"/>
              <a:gd name="connsiteX8" fmla="*/ 7023101 w 11046723"/>
              <a:gd name="connsiteY8" fmla="*/ 661672 h 6858000"/>
              <a:gd name="connsiteX9" fmla="*/ 9331960 w 11046723"/>
              <a:gd name="connsiteY9" fmla="*/ 2457451 h 6858000"/>
              <a:gd name="connsiteX10" fmla="*/ 10982484 w 11046723"/>
              <a:gd name="connsiteY10" fmla="*/ 4320382 h 6858000"/>
              <a:gd name="connsiteX11" fmla="*/ 11046723 w 11046723"/>
              <a:gd name="connsiteY11" fmla="*/ 4399855 h 6858000"/>
              <a:gd name="connsiteX12" fmla="*/ 10950686 w 11046723"/>
              <a:gd name="connsiteY12" fmla="*/ 4415959 h 6858000"/>
              <a:gd name="connsiteX13" fmla="*/ 9269729 w 11046723"/>
              <a:gd name="connsiteY13" fmla="*/ 5092699 h 6858000"/>
              <a:gd name="connsiteX14" fmla="*/ 8111807 w 11046723"/>
              <a:gd name="connsiteY14" fmla="*/ 6820535 h 6858000"/>
              <a:gd name="connsiteX15" fmla="*/ 8096827 w 11046723"/>
              <a:gd name="connsiteY15" fmla="*/ 6858000 h 6858000"/>
              <a:gd name="connsiteX16" fmla="*/ 0 w 11046723"/>
              <a:gd name="connsiteY16" fmla="*/ 6858000 h 6858000"/>
              <a:gd name="connsiteX17" fmla="*/ 0 w 11046723"/>
              <a:gd name="connsiteY17" fmla="*/ 1312476 h 6858000"/>
              <a:gd name="connsiteX18" fmla="*/ 393384 w 11046723"/>
              <a:gd name="connsiteY18" fmla="*/ 1170010 h 6858000"/>
              <a:gd name="connsiteX19" fmla="*/ 1790701 w 11046723"/>
              <a:gd name="connsiteY19" fmla="*/ 836932 h 6858000"/>
              <a:gd name="connsiteX20" fmla="*/ 5416523 w 11046723"/>
              <a:gd name="connsiteY20" fmla="*/ 392344 h 6858000"/>
              <a:gd name="connsiteX21" fmla="*/ 7788060 w 11046723"/>
              <a:gd name="connsiteY21" fmla="*/ 373174 h 6858000"/>
              <a:gd name="connsiteX22" fmla="*/ 7951989 w 11046723"/>
              <a:gd name="connsiteY22" fmla="*/ 496695 h 6858000"/>
              <a:gd name="connsiteX23" fmla="*/ 8131809 w 11046723"/>
              <a:gd name="connsiteY23" fmla="*/ 618490 h 6858000"/>
              <a:gd name="connsiteX24" fmla="*/ 10486389 w 11046723"/>
              <a:gd name="connsiteY24" fmla="*/ 1795780 h 6858000"/>
              <a:gd name="connsiteX25" fmla="*/ 8131810 w 11046723"/>
              <a:gd name="connsiteY25" fmla="*/ 619761 h 6858000"/>
              <a:gd name="connsiteX26" fmla="*/ 7927023 w 11046723"/>
              <a:gd name="connsiteY26" fmla="*/ 479920 h 6858000"/>
              <a:gd name="connsiteX27" fmla="*/ 7788060 w 11046723"/>
              <a:gd name="connsiteY27" fmla="*/ 373174 h 6858000"/>
              <a:gd name="connsiteX28" fmla="*/ 7778945 w 11046723"/>
              <a:gd name="connsiteY28" fmla="*/ 366172 h 6858000"/>
              <a:gd name="connsiteX29" fmla="*/ 7788060 w 11046723"/>
              <a:gd name="connsiteY29" fmla="*/ 373174 h 6858000"/>
              <a:gd name="connsiteX30" fmla="*/ 7780464 w 11046723"/>
              <a:gd name="connsiteY30" fmla="*/ 367450 h 6858000"/>
              <a:gd name="connsiteX31" fmla="*/ 7778945 w 11046723"/>
              <a:gd name="connsiteY31" fmla="*/ 366172 h 6858000"/>
              <a:gd name="connsiteX32" fmla="*/ 7544713 w 11046723"/>
              <a:gd name="connsiteY32" fmla="*/ 169063 h 6858000"/>
              <a:gd name="connsiteX33" fmla="*/ 7778945 w 11046723"/>
              <a:gd name="connsiteY33" fmla="*/ 366172 h 6858000"/>
              <a:gd name="connsiteX34" fmla="*/ 7732713 w 11046723"/>
              <a:gd name="connsiteY34" fmla="*/ 330658 h 6858000"/>
              <a:gd name="connsiteX35" fmla="*/ 7544713 w 11046723"/>
              <a:gd name="connsiteY35" fmla="*/ 169063 h 6858000"/>
              <a:gd name="connsiteX36" fmla="*/ 7414333 w 11046723"/>
              <a:gd name="connsiteY36" fmla="*/ 56995 h 6858000"/>
              <a:gd name="connsiteX37" fmla="*/ 7544713 w 11046723"/>
              <a:gd name="connsiteY37" fmla="*/ 169063 h 6858000"/>
              <a:gd name="connsiteX38" fmla="*/ 7454642 w 11046723"/>
              <a:gd name="connsiteY38" fmla="*/ 93267 h 6858000"/>
              <a:gd name="connsiteX39" fmla="*/ 7414333 w 11046723"/>
              <a:gd name="connsiteY39" fmla="*/ 56995 h 6858000"/>
              <a:gd name="connsiteX40" fmla="*/ 7348739 w 11046723"/>
              <a:gd name="connsiteY40" fmla="*/ 0 h 6858000"/>
              <a:gd name="connsiteX41" fmla="*/ 7350996 w 11046723"/>
              <a:gd name="connsiteY41" fmla="*/ 0 h 6858000"/>
              <a:gd name="connsiteX42" fmla="*/ 7414333 w 11046723"/>
              <a:gd name="connsiteY42" fmla="*/ 56995 h 6858000"/>
              <a:gd name="connsiteX43" fmla="*/ 7364096 w 11046723"/>
              <a:gd name="connsiteY43" fmla="*/ 13813 h 6858000"/>
              <a:gd name="connsiteX44" fmla="*/ 7348739 w 11046723"/>
              <a:gd name="connsiteY44" fmla="*/ 0 h 6858000"/>
              <a:gd name="connsiteX45" fmla="*/ 1493836 w 11046723"/>
              <a:gd name="connsiteY45" fmla="*/ 0 h 6858000"/>
              <a:gd name="connsiteX46" fmla="*/ 1493841 w 11046723"/>
              <a:gd name="connsiteY46" fmla="*/ 0 h 6858000"/>
              <a:gd name="connsiteX47" fmla="*/ 1318737 w 11046723"/>
              <a:gd name="connsiteY47" fmla="*/ 70646 h 6858000"/>
              <a:gd name="connsiteX48" fmla="*/ 1036321 w 11046723"/>
              <a:gd name="connsiteY48" fmla="*/ 194312 h 6858000"/>
              <a:gd name="connsiteX49" fmla="*/ 130672 w 11046723"/>
              <a:gd name="connsiteY49" fmla="*/ 671514 h 6858000"/>
              <a:gd name="connsiteX50" fmla="*/ 0 w 11046723"/>
              <a:gd name="connsiteY50" fmla="*/ 747683 h 6858000"/>
              <a:gd name="connsiteX51" fmla="*/ 0 w 11046723"/>
              <a:gd name="connsiteY51" fmla="*/ 747682 h 6858000"/>
              <a:gd name="connsiteX52" fmla="*/ 130672 w 11046723"/>
              <a:gd name="connsiteY52" fmla="*/ 671513 h 6858000"/>
              <a:gd name="connsiteX53" fmla="*/ 1036321 w 11046723"/>
              <a:gd name="connsiteY53" fmla="*/ 194310 h 6858000"/>
              <a:gd name="connsiteX54" fmla="*/ 1318737 w 11046723"/>
              <a:gd name="connsiteY54" fmla="*/ 70644 h 6858000"/>
              <a:gd name="connsiteX55" fmla="*/ 1493836 w 11046723"/>
              <a:gd name="connsiteY55" fmla="*/ 0 h 6858000"/>
              <a:gd name="connsiteX0" fmla="*/ 10404349 w 11046723"/>
              <a:gd name="connsiteY0" fmla="*/ 855460 h 6858000"/>
              <a:gd name="connsiteX1" fmla="*/ 10350933 w 11046723"/>
              <a:gd name="connsiteY1" fmla="*/ 814415 h 6858000"/>
              <a:gd name="connsiteX2" fmla="*/ 10404349 w 11046723"/>
              <a:gd name="connsiteY2" fmla="*/ 855460 h 6858000"/>
              <a:gd name="connsiteX3" fmla="*/ 10157163 w 11046723"/>
              <a:gd name="connsiteY3" fmla="*/ 678888 h 6858000"/>
              <a:gd name="connsiteX4" fmla="*/ 10099498 w 11046723"/>
              <a:gd name="connsiteY4" fmla="*/ 638556 h 6858000"/>
              <a:gd name="connsiteX5" fmla="*/ 10157163 w 11046723"/>
              <a:gd name="connsiteY5" fmla="*/ 678888 h 6858000"/>
              <a:gd name="connsiteX6" fmla="*/ 5416523 w 11046723"/>
              <a:gd name="connsiteY6" fmla="*/ 392344 h 6858000"/>
              <a:gd name="connsiteX7" fmla="*/ 7023101 w 11046723"/>
              <a:gd name="connsiteY7" fmla="*/ 661672 h 6858000"/>
              <a:gd name="connsiteX8" fmla="*/ 9331960 w 11046723"/>
              <a:gd name="connsiteY8" fmla="*/ 2457451 h 6858000"/>
              <a:gd name="connsiteX9" fmla="*/ 10982484 w 11046723"/>
              <a:gd name="connsiteY9" fmla="*/ 4320382 h 6858000"/>
              <a:gd name="connsiteX10" fmla="*/ 11046723 w 11046723"/>
              <a:gd name="connsiteY10" fmla="*/ 4399855 h 6858000"/>
              <a:gd name="connsiteX11" fmla="*/ 10950686 w 11046723"/>
              <a:gd name="connsiteY11" fmla="*/ 4415959 h 6858000"/>
              <a:gd name="connsiteX12" fmla="*/ 9269729 w 11046723"/>
              <a:gd name="connsiteY12" fmla="*/ 5092699 h 6858000"/>
              <a:gd name="connsiteX13" fmla="*/ 8111807 w 11046723"/>
              <a:gd name="connsiteY13" fmla="*/ 6820535 h 6858000"/>
              <a:gd name="connsiteX14" fmla="*/ 8096827 w 11046723"/>
              <a:gd name="connsiteY14" fmla="*/ 6858000 h 6858000"/>
              <a:gd name="connsiteX15" fmla="*/ 0 w 11046723"/>
              <a:gd name="connsiteY15" fmla="*/ 6858000 h 6858000"/>
              <a:gd name="connsiteX16" fmla="*/ 0 w 11046723"/>
              <a:gd name="connsiteY16" fmla="*/ 1312476 h 6858000"/>
              <a:gd name="connsiteX17" fmla="*/ 393384 w 11046723"/>
              <a:gd name="connsiteY17" fmla="*/ 1170010 h 6858000"/>
              <a:gd name="connsiteX18" fmla="*/ 1790701 w 11046723"/>
              <a:gd name="connsiteY18" fmla="*/ 836932 h 6858000"/>
              <a:gd name="connsiteX19" fmla="*/ 5416523 w 11046723"/>
              <a:gd name="connsiteY19" fmla="*/ 392344 h 6858000"/>
              <a:gd name="connsiteX20" fmla="*/ 7788060 w 11046723"/>
              <a:gd name="connsiteY20" fmla="*/ 373174 h 6858000"/>
              <a:gd name="connsiteX21" fmla="*/ 7951989 w 11046723"/>
              <a:gd name="connsiteY21" fmla="*/ 496695 h 6858000"/>
              <a:gd name="connsiteX22" fmla="*/ 8131809 w 11046723"/>
              <a:gd name="connsiteY22" fmla="*/ 618490 h 6858000"/>
              <a:gd name="connsiteX23" fmla="*/ 10486389 w 11046723"/>
              <a:gd name="connsiteY23" fmla="*/ 1795780 h 6858000"/>
              <a:gd name="connsiteX24" fmla="*/ 8131810 w 11046723"/>
              <a:gd name="connsiteY24" fmla="*/ 619761 h 6858000"/>
              <a:gd name="connsiteX25" fmla="*/ 7927023 w 11046723"/>
              <a:gd name="connsiteY25" fmla="*/ 479920 h 6858000"/>
              <a:gd name="connsiteX26" fmla="*/ 7788060 w 11046723"/>
              <a:gd name="connsiteY26" fmla="*/ 373174 h 6858000"/>
              <a:gd name="connsiteX27" fmla="*/ 7778945 w 11046723"/>
              <a:gd name="connsiteY27" fmla="*/ 366172 h 6858000"/>
              <a:gd name="connsiteX28" fmla="*/ 7788060 w 11046723"/>
              <a:gd name="connsiteY28" fmla="*/ 373174 h 6858000"/>
              <a:gd name="connsiteX29" fmla="*/ 7780464 w 11046723"/>
              <a:gd name="connsiteY29" fmla="*/ 367450 h 6858000"/>
              <a:gd name="connsiteX30" fmla="*/ 7778945 w 11046723"/>
              <a:gd name="connsiteY30" fmla="*/ 366172 h 6858000"/>
              <a:gd name="connsiteX31" fmla="*/ 7544713 w 11046723"/>
              <a:gd name="connsiteY31" fmla="*/ 169063 h 6858000"/>
              <a:gd name="connsiteX32" fmla="*/ 7778945 w 11046723"/>
              <a:gd name="connsiteY32" fmla="*/ 366172 h 6858000"/>
              <a:gd name="connsiteX33" fmla="*/ 7732713 w 11046723"/>
              <a:gd name="connsiteY33" fmla="*/ 330658 h 6858000"/>
              <a:gd name="connsiteX34" fmla="*/ 7544713 w 11046723"/>
              <a:gd name="connsiteY34" fmla="*/ 169063 h 6858000"/>
              <a:gd name="connsiteX35" fmla="*/ 7414333 w 11046723"/>
              <a:gd name="connsiteY35" fmla="*/ 56995 h 6858000"/>
              <a:gd name="connsiteX36" fmla="*/ 7544713 w 11046723"/>
              <a:gd name="connsiteY36" fmla="*/ 169063 h 6858000"/>
              <a:gd name="connsiteX37" fmla="*/ 7454642 w 11046723"/>
              <a:gd name="connsiteY37" fmla="*/ 93267 h 6858000"/>
              <a:gd name="connsiteX38" fmla="*/ 7414333 w 11046723"/>
              <a:gd name="connsiteY38" fmla="*/ 56995 h 6858000"/>
              <a:gd name="connsiteX39" fmla="*/ 7348739 w 11046723"/>
              <a:gd name="connsiteY39" fmla="*/ 0 h 6858000"/>
              <a:gd name="connsiteX40" fmla="*/ 7350996 w 11046723"/>
              <a:gd name="connsiteY40" fmla="*/ 0 h 6858000"/>
              <a:gd name="connsiteX41" fmla="*/ 7414333 w 11046723"/>
              <a:gd name="connsiteY41" fmla="*/ 56995 h 6858000"/>
              <a:gd name="connsiteX42" fmla="*/ 7364096 w 11046723"/>
              <a:gd name="connsiteY42" fmla="*/ 13813 h 6858000"/>
              <a:gd name="connsiteX43" fmla="*/ 7348739 w 11046723"/>
              <a:gd name="connsiteY43" fmla="*/ 0 h 6858000"/>
              <a:gd name="connsiteX44" fmla="*/ 1493836 w 11046723"/>
              <a:gd name="connsiteY44" fmla="*/ 0 h 6858000"/>
              <a:gd name="connsiteX45" fmla="*/ 1493841 w 11046723"/>
              <a:gd name="connsiteY45" fmla="*/ 0 h 6858000"/>
              <a:gd name="connsiteX46" fmla="*/ 1318737 w 11046723"/>
              <a:gd name="connsiteY46" fmla="*/ 70646 h 6858000"/>
              <a:gd name="connsiteX47" fmla="*/ 1036321 w 11046723"/>
              <a:gd name="connsiteY47" fmla="*/ 194312 h 6858000"/>
              <a:gd name="connsiteX48" fmla="*/ 130672 w 11046723"/>
              <a:gd name="connsiteY48" fmla="*/ 671514 h 6858000"/>
              <a:gd name="connsiteX49" fmla="*/ 0 w 11046723"/>
              <a:gd name="connsiteY49" fmla="*/ 747683 h 6858000"/>
              <a:gd name="connsiteX50" fmla="*/ 0 w 11046723"/>
              <a:gd name="connsiteY50" fmla="*/ 747682 h 6858000"/>
              <a:gd name="connsiteX51" fmla="*/ 130672 w 11046723"/>
              <a:gd name="connsiteY51" fmla="*/ 671513 h 6858000"/>
              <a:gd name="connsiteX52" fmla="*/ 1036321 w 11046723"/>
              <a:gd name="connsiteY52" fmla="*/ 194310 h 6858000"/>
              <a:gd name="connsiteX53" fmla="*/ 1318737 w 11046723"/>
              <a:gd name="connsiteY53" fmla="*/ 70644 h 6858000"/>
              <a:gd name="connsiteX54" fmla="*/ 1493836 w 11046723"/>
              <a:gd name="connsiteY54" fmla="*/ 0 h 6858000"/>
              <a:gd name="connsiteX0" fmla="*/ 10157163 w 11046723"/>
              <a:gd name="connsiteY0" fmla="*/ 678888 h 6858000"/>
              <a:gd name="connsiteX1" fmla="*/ 10099498 w 11046723"/>
              <a:gd name="connsiteY1" fmla="*/ 638556 h 6858000"/>
              <a:gd name="connsiteX2" fmla="*/ 10157163 w 11046723"/>
              <a:gd name="connsiteY2" fmla="*/ 678888 h 6858000"/>
              <a:gd name="connsiteX3" fmla="*/ 5416523 w 11046723"/>
              <a:gd name="connsiteY3" fmla="*/ 392344 h 6858000"/>
              <a:gd name="connsiteX4" fmla="*/ 7023101 w 11046723"/>
              <a:gd name="connsiteY4" fmla="*/ 661672 h 6858000"/>
              <a:gd name="connsiteX5" fmla="*/ 9331960 w 11046723"/>
              <a:gd name="connsiteY5" fmla="*/ 2457451 h 6858000"/>
              <a:gd name="connsiteX6" fmla="*/ 10982484 w 11046723"/>
              <a:gd name="connsiteY6" fmla="*/ 4320382 h 6858000"/>
              <a:gd name="connsiteX7" fmla="*/ 11046723 w 11046723"/>
              <a:gd name="connsiteY7" fmla="*/ 4399855 h 6858000"/>
              <a:gd name="connsiteX8" fmla="*/ 10950686 w 11046723"/>
              <a:gd name="connsiteY8" fmla="*/ 4415959 h 6858000"/>
              <a:gd name="connsiteX9" fmla="*/ 9269729 w 11046723"/>
              <a:gd name="connsiteY9" fmla="*/ 5092699 h 6858000"/>
              <a:gd name="connsiteX10" fmla="*/ 8111807 w 11046723"/>
              <a:gd name="connsiteY10" fmla="*/ 6820535 h 6858000"/>
              <a:gd name="connsiteX11" fmla="*/ 8096827 w 11046723"/>
              <a:gd name="connsiteY11" fmla="*/ 6858000 h 6858000"/>
              <a:gd name="connsiteX12" fmla="*/ 0 w 11046723"/>
              <a:gd name="connsiteY12" fmla="*/ 6858000 h 6858000"/>
              <a:gd name="connsiteX13" fmla="*/ 0 w 11046723"/>
              <a:gd name="connsiteY13" fmla="*/ 1312476 h 6858000"/>
              <a:gd name="connsiteX14" fmla="*/ 393384 w 11046723"/>
              <a:gd name="connsiteY14" fmla="*/ 1170010 h 6858000"/>
              <a:gd name="connsiteX15" fmla="*/ 1790701 w 11046723"/>
              <a:gd name="connsiteY15" fmla="*/ 836932 h 6858000"/>
              <a:gd name="connsiteX16" fmla="*/ 5416523 w 11046723"/>
              <a:gd name="connsiteY16" fmla="*/ 392344 h 6858000"/>
              <a:gd name="connsiteX17" fmla="*/ 7788060 w 11046723"/>
              <a:gd name="connsiteY17" fmla="*/ 373174 h 6858000"/>
              <a:gd name="connsiteX18" fmla="*/ 7951989 w 11046723"/>
              <a:gd name="connsiteY18" fmla="*/ 496695 h 6858000"/>
              <a:gd name="connsiteX19" fmla="*/ 8131809 w 11046723"/>
              <a:gd name="connsiteY19" fmla="*/ 618490 h 6858000"/>
              <a:gd name="connsiteX20" fmla="*/ 10486389 w 11046723"/>
              <a:gd name="connsiteY20" fmla="*/ 1795780 h 6858000"/>
              <a:gd name="connsiteX21" fmla="*/ 8131810 w 11046723"/>
              <a:gd name="connsiteY21" fmla="*/ 619761 h 6858000"/>
              <a:gd name="connsiteX22" fmla="*/ 7927023 w 11046723"/>
              <a:gd name="connsiteY22" fmla="*/ 479920 h 6858000"/>
              <a:gd name="connsiteX23" fmla="*/ 7788060 w 11046723"/>
              <a:gd name="connsiteY23" fmla="*/ 373174 h 6858000"/>
              <a:gd name="connsiteX24" fmla="*/ 7778945 w 11046723"/>
              <a:gd name="connsiteY24" fmla="*/ 366172 h 6858000"/>
              <a:gd name="connsiteX25" fmla="*/ 7788060 w 11046723"/>
              <a:gd name="connsiteY25" fmla="*/ 373174 h 6858000"/>
              <a:gd name="connsiteX26" fmla="*/ 7780464 w 11046723"/>
              <a:gd name="connsiteY26" fmla="*/ 367450 h 6858000"/>
              <a:gd name="connsiteX27" fmla="*/ 7778945 w 11046723"/>
              <a:gd name="connsiteY27" fmla="*/ 366172 h 6858000"/>
              <a:gd name="connsiteX28" fmla="*/ 7544713 w 11046723"/>
              <a:gd name="connsiteY28" fmla="*/ 169063 h 6858000"/>
              <a:gd name="connsiteX29" fmla="*/ 7778945 w 11046723"/>
              <a:gd name="connsiteY29" fmla="*/ 366172 h 6858000"/>
              <a:gd name="connsiteX30" fmla="*/ 7732713 w 11046723"/>
              <a:gd name="connsiteY30" fmla="*/ 330658 h 6858000"/>
              <a:gd name="connsiteX31" fmla="*/ 7544713 w 11046723"/>
              <a:gd name="connsiteY31" fmla="*/ 169063 h 6858000"/>
              <a:gd name="connsiteX32" fmla="*/ 7414333 w 11046723"/>
              <a:gd name="connsiteY32" fmla="*/ 56995 h 6858000"/>
              <a:gd name="connsiteX33" fmla="*/ 7544713 w 11046723"/>
              <a:gd name="connsiteY33" fmla="*/ 169063 h 6858000"/>
              <a:gd name="connsiteX34" fmla="*/ 7454642 w 11046723"/>
              <a:gd name="connsiteY34" fmla="*/ 93267 h 6858000"/>
              <a:gd name="connsiteX35" fmla="*/ 7414333 w 11046723"/>
              <a:gd name="connsiteY35" fmla="*/ 56995 h 6858000"/>
              <a:gd name="connsiteX36" fmla="*/ 7348739 w 11046723"/>
              <a:gd name="connsiteY36" fmla="*/ 0 h 6858000"/>
              <a:gd name="connsiteX37" fmla="*/ 7350996 w 11046723"/>
              <a:gd name="connsiteY37" fmla="*/ 0 h 6858000"/>
              <a:gd name="connsiteX38" fmla="*/ 7414333 w 11046723"/>
              <a:gd name="connsiteY38" fmla="*/ 56995 h 6858000"/>
              <a:gd name="connsiteX39" fmla="*/ 7364096 w 11046723"/>
              <a:gd name="connsiteY39" fmla="*/ 13813 h 6858000"/>
              <a:gd name="connsiteX40" fmla="*/ 7348739 w 11046723"/>
              <a:gd name="connsiteY40" fmla="*/ 0 h 6858000"/>
              <a:gd name="connsiteX41" fmla="*/ 1493836 w 11046723"/>
              <a:gd name="connsiteY41" fmla="*/ 0 h 6858000"/>
              <a:gd name="connsiteX42" fmla="*/ 1493841 w 11046723"/>
              <a:gd name="connsiteY42" fmla="*/ 0 h 6858000"/>
              <a:gd name="connsiteX43" fmla="*/ 1318737 w 11046723"/>
              <a:gd name="connsiteY43" fmla="*/ 70646 h 6858000"/>
              <a:gd name="connsiteX44" fmla="*/ 1036321 w 11046723"/>
              <a:gd name="connsiteY44" fmla="*/ 194312 h 6858000"/>
              <a:gd name="connsiteX45" fmla="*/ 130672 w 11046723"/>
              <a:gd name="connsiteY45" fmla="*/ 671514 h 6858000"/>
              <a:gd name="connsiteX46" fmla="*/ 0 w 11046723"/>
              <a:gd name="connsiteY46" fmla="*/ 747683 h 6858000"/>
              <a:gd name="connsiteX47" fmla="*/ 0 w 11046723"/>
              <a:gd name="connsiteY47" fmla="*/ 747682 h 6858000"/>
              <a:gd name="connsiteX48" fmla="*/ 130672 w 11046723"/>
              <a:gd name="connsiteY48" fmla="*/ 671513 h 6858000"/>
              <a:gd name="connsiteX49" fmla="*/ 1036321 w 11046723"/>
              <a:gd name="connsiteY49" fmla="*/ 194310 h 6858000"/>
              <a:gd name="connsiteX50" fmla="*/ 1318737 w 11046723"/>
              <a:gd name="connsiteY50" fmla="*/ 70644 h 6858000"/>
              <a:gd name="connsiteX51" fmla="*/ 1493836 w 11046723"/>
              <a:gd name="connsiteY51"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788060 w 11046723"/>
              <a:gd name="connsiteY14" fmla="*/ 373174 h 6858000"/>
              <a:gd name="connsiteX15" fmla="*/ 7951989 w 11046723"/>
              <a:gd name="connsiteY15" fmla="*/ 496695 h 6858000"/>
              <a:gd name="connsiteX16" fmla="*/ 8131809 w 11046723"/>
              <a:gd name="connsiteY16" fmla="*/ 618490 h 6858000"/>
              <a:gd name="connsiteX17" fmla="*/ 10486389 w 11046723"/>
              <a:gd name="connsiteY17" fmla="*/ 1795780 h 6858000"/>
              <a:gd name="connsiteX18" fmla="*/ 8131810 w 11046723"/>
              <a:gd name="connsiteY18" fmla="*/ 619761 h 6858000"/>
              <a:gd name="connsiteX19" fmla="*/ 7927023 w 11046723"/>
              <a:gd name="connsiteY19" fmla="*/ 479920 h 6858000"/>
              <a:gd name="connsiteX20" fmla="*/ 7788060 w 11046723"/>
              <a:gd name="connsiteY20" fmla="*/ 373174 h 6858000"/>
              <a:gd name="connsiteX21" fmla="*/ 7778945 w 11046723"/>
              <a:gd name="connsiteY21" fmla="*/ 366172 h 6858000"/>
              <a:gd name="connsiteX22" fmla="*/ 7788060 w 11046723"/>
              <a:gd name="connsiteY22" fmla="*/ 373174 h 6858000"/>
              <a:gd name="connsiteX23" fmla="*/ 7780464 w 11046723"/>
              <a:gd name="connsiteY23" fmla="*/ 367450 h 6858000"/>
              <a:gd name="connsiteX24" fmla="*/ 7778945 w 11046723"/>
              <a:gd name="connsiteY24" fmla="*/ 366172 h 6858000"/>
              <a:gd name="connsiteX25" fmla="*/ 7544713 w 11046723"/>
              <a:gd name="connsiteY25" fmla="*/ 169063 h 6858000"/>
              <a:gd name="connsiteX26" fmla="*/ 7778945 w 11046723"/>
              <a:gd name="connsiteY26" fmla="*/ 366172 h 6858000"/>
              <a:gd name="connsiteX27" fmla="*/ 7732713 w 11046723"/>
              <a:gd name="connsiteY27" fmla="*/ 330658 h 6858000"/>
              <a:gd name="connsiteX28" fmla="*/ 7544713 w 11046723"/>
              <a:gd name="connsiteY28" fmla="*/ 169063 h 6858000"/>
              <a:gd name="connsiteX29" fmla="*/ 7414333 w 11046723"/>
              <a:gd name="connsiteY29" fmla="*/ 56995 h 6858000"/>
              <a:gd name="connsiteX30" fmla="*/ 7544713 w 11046723"/>
              <a:gd name="connsiteY30" fmla="*/ 169063 h 6858000"/>
              <a:gd name="connsiteX31" fmla="*/ 7454642 w 11046723"/>
              <a:gd name="connsiteY31" fmla="*/ 93267 h 6858000"/>
              <a:gd name="connsiteX32" fmla="*/ 7414333 w 11046723"/>
              <a:gd name="connsiteY32" fmla="*/ 56995 h 6858000"/>
              <a:gd name="connsiteX33" fmla="*/ 7348739 w 11046723"/>
              <a:gd name="connsiteY33" fmla="*/ 0 h 6858000"/>
              <a:gd name="connsiteX34" fmla="*/ 7350996 w 11046723"/>
              <a:gd name="connsiteY34" fmla="*/ 0 h 6858000"/>
              <a:gd name="connsiteX35" fmla="*/ 7414333 w 11046723"/>
              <a:gd name="connsiteY35" fmla="*/ 56995 h 6858000"/>
              <a:gd name="connsiteX36" fmla="*/ 7364096 w 11046723"/>
              <a:gd name="connsiteY36" fmla="*/ 13813 h 6858000"/>
              <a:gd name="connsiteX37" fmla="*/ 7348739 w 11046723"/>
              <a:gd name="connsiteY37" fmla="*/ 0 h 6858000"/>
              <a:gd name="connsiteX38" fmla="*/ 1493836 w 11046723"/>
              <a:gd name="connsiteY38" fmla="*/ 0 h 6858000"/>
              <a:gd name="connsiteX39" fmla="*/ 1493841 w 11046723"/>
              <a:gd name="connsiteY39" fmla="*/ 0 h 6858000"/>
              <a:gd name="connsiteX40" fmla="*/ 1318737 w 11046723"/>
              <a:gd name="connsiteY40" fmla="*/ 70646 h 6858000"/>
              <a:gd name="connsiteX41" fmla="*/ 1036321 w 11046723"/>
              <a:gd name="connsiteY41" fmla="*/ 194312 h 6858000"/>
              <a:gd name="connsiteX42" fmla="*/ 130672 w 11046723"/>
              <a:gd name="connsiteY42" fmla="*/ 671514 h 6858000"/>
              <a:gd name="connsiteX43" fmla="*/ 0 w 11046723"/>
              <a:gd name="connsiteY43" fmla="*/ 747683 h 6858000"/>
              <a:gd name="connsiteX44" fmla="*/ 0 w 11046723"/>
              <a:gd name="connsiteY44" fmla="*/ 747682 h 6858000"/>
              <a:gd name="connsiteX45" fmla="*/ 130672 w 11046723"/>
              <a:gd name="connsiteY45" fmla="*/ 671513 h 6858000"/>
              <a:gd name="connsiteX46" fmla="*/ 1036321 w 11046723"/>
              <a:gd name="connsiteY46" fmla="*/ 194310 h 6858000"/>
              <a:gd name="connsiteX47" fmla="*/ 1318737 w 11046723"/>
              <a:gd name="connsiteY47" fmla="*/ 70644 h 6858000"/>
              <a:gd name="connsiteX48" fmla="*/ 1493836 w 11046723"/>
              <a:gd name="connsiteY48"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788060 w 11046723"/>
              <a:gd name="connsiteY14" fmla="*/ 373174 h 6858000"/>
              <a:gd name="connsiteX15" fmla="*/ 7951989 w 11046723"/>
              <a:gd name="connsiteY15" fmla="*/ 496695 h 6858000"/>
              <a:gd name="connsiteX16" fmla="*/ 8131809 w 11046723"/>
              <a:gd name="connsiteY16" fmla="*/ 618490 h 6858000"/>
              <a:gd name="connsiteX17" fmla="*/ 8131810 w 11046723"/>
              <a:gd name="connsiteY17" fmla="*/ 619761 h 6858000"/>
              <a:gd name="connsiteX18" fmla="*/ 7927023 w 11046723"/>
              <a:gd name="connsiteY18" fmla="*/ 479920 h 6858000"/>
              <a:gd name="connsiteX19" fmla="*/ 7788060 w 11046723"/>
              <a:gd name="connsiteY19" fmla="*/ 373174 h 6858000"/>
              <a:gd name="connsiteX20" fmla="*/ 7778945 w 11046723"/>
              <a:gd name="connsiteY20" fmla="*/ 366172 h 6858000"/>
              <a:gd name="connsiteX21" fmla="*/ 7788060 w 11046723"/>
              <a:gd name="connsiteY21" fmla="*/ 373174 h 6858000"/>
              <a:gd name="connsiteX22" fmla="*/ 7780464 w 11046723"/>
              <a:gd name="connsiteY22" fmla="*/ 367450 h 6858000"/>
              <a:gd name="connsiteX23" fmla="*/ 7778945 w 11046723"/>
              <a:gd name="connsiteY23" fmla="*/ 366172 h 6858000"/>
              <a:gd name="connsiteX24" fmla="*/ 7544713 w 11046723"/>
              <a:gd name="connsiteY24" fmla="*/ 169063 h 6858000"/>
              <a:gd name="connsiteX25" fmla="*/ 7778945 w 11046723"/>
              <a:gd name="connsiteY25" fmla="*/ 366172 h 6858000"/>
              <a:gd name="connsiteX26" fmla="*/ 7732713 w 11046723"/>
              <a:gd name="connsiteY26" fmla="*/ 330658 h 6858000"/>
              <a:gd name="connsiteX27" fmla="*/ 7544713 w 11046723"/>
              <a:gd name="connsiteY27" fmla="*/ 169063 h 6858000"/>
              <a:gd name="connsiteX28" fmla="*/ 7414333 w 11046723"/>
              <a:gd name="connsiteY28" fmla="*/ 56995 h 6858000"/>
              <a:gd name="connsiteX29" fmla="*/ 7544713 w 11046723"/>
              <a:gd name="connsiteY29" fmla="*/ 169063 h 6858000"/>
              <a:gd name="connsiteX30" fmla="*/ 7454642 w 11046723"/>
              <a:gd name="connsiteY30" fmla="*/ 93267 h 6858000"/>
              <a:gd name="connsiteX31" fmla="*/ 7414333 w 11046723"/>
              <a:gd name="connsiteY31" fmla="*/ 56995 h 6858000"/>
              <a:gd name="connsiteX32" fmla="*/ 7348739 w 11046723"/>
              <a:gd name="connsiteY32" fmla="*/ 0 h 6858000"/>
              <a:gd name="connsiteX33" fmla="*/ 7350996 w 11046723"/>
              <a:gd name="connsiteY33" fmla="*/ 0 h 6858000"/>
              <a:gd name="connsiteX34" fmla="*/ 7414333 w 11046723"/>
              <a:gd name="connsiteY34" fmla="*/ 56995 h 6858000"/>
              <a:gd name="connsiteX35" fmla="*/ 7364096 w 11046723"/>
              <a:gd name="connsiteY35" fmla="*/ 13813 h 6858000"/>
              <a:gd name="connsiteX36" fmla="*/ 7348739 w 11046723"/>
              <a:gd name="connsiteY36" fmla="*/ 0 h 6858000"/>
              <a:gd name="connsiteX37" fmla="*/ 1493836 w 11046723"/>
              <a:gd name="connsiteY37" fmla="*/ 0 h 6858000"/>
              <a:gd name="connsiteX38" fmla="*/ 1493841 w 11046723"/>
              <a:gd name="connsiteY38" fmla="*/ 0 h 6858000"/>
              <a:gd name="connsiteX39" fmla="*/ 1318737 w 11046723"/>
              <a:gd name="connsiteY39" fmla="*/ 70646 h 6858000"/>
              <a:gd name="connsiteX40" fmla="*/ 1036321 w 11046723"/>
              <a:gd name="connsiteY40" fmla="*/ 194312 h 6858000"/>
              <a:gd name="connsiteX41" fmla="*/ 130672 w 11046723"/>
              <a:gd name="connsiteY41" fmla="*/ 671514 h 6858000"/>
              <a:gd name="connsiteX42" fmla="*/ 0 w 11046723"/>
              <a:gd name="connsiteY42" fmla="*/ 747683 h 6858000"/>
              <a:gd name="connsiteX43" fmla="*/ 0 w 11046723"/>
              <a:gd name="connsiteY43" fmla="*/ 747682 h 6858000"/>
              <a:gd name="connsiteX44" fmla="*/ 130672 w 11046723"/>
              <a:gd name="connsiteY44" fmla="*/ 671513 h 6858000"/>
              <a:gd name="connsiteX45" fmla="*/ 1036321 w 11046723"/>
              <a:gd name="connsiteY45" fmla="*/ 194310 h 6858000"/>
              <a:gd name="connsiteX46" fmla="*/ 1318737 w 11046723"/>
              <a:gd name="connsiteY46" fmla="*/ 70644 h 6858000"/>
              <a:gd name="connsiteX47" fmla="*/ 1493836 w 11046723"/>
              <a:gd name="connsiteY47"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788060 w 11046723"/>
              <a:gd name="connsiteY14" fmla="*/ 373174 h 6858000"/>
              <a:gd name="connsiteX15" fmla="*/ 7951989 w 11046723"/>
              <a:gd name="connsiteY15" fmla="*/ 496695 h 6858000"/>
              <a:gd name="connsiteX16" fmla="*/ 8131809 w 11046723"/>
              <a:gd name="connsiteY16" fmla="*/ 618490 h 6858000"/>
              <a:gd name="connsiteX17" fmla="*/ 7927023 w 11046723"/>
              <a:gd name="connsiteY17" fmla="*/ 479920 h 6858000"/>
              <a:gd name="connsiteX18" fmla="*/ 7788060 w 11046723"/>
              <a:gd name="connsiteY18" fmla="*/ 373174 h 6858000"/>
              <a:gd name="connsiteX19" fmla="*/ 7778945 w 11046723"/>
              <a:gd name="connsiteY19" fmla="*/ 366172 h 6858000"/>
              <a:gd name="connsiteX20" fmla="*/ 7788060 w 11046723"/>
              <a:gd name="connsiteY20" fmla="*/ 373174 h 6858000"/>
              <a:gd name="connsiteX21" fmla="*/ 7780464 w 11046723"/>
              <a:gd name="connsiteY21" fmla="*/ 367450 h 6858000"/>
              <a:gd name="connsiteX22" fmla="*/ 7778945 w 11046723"/>
              <a:gd name="connsiteY22" fmla="*/ 366172 h 6858000"/>
              <a:gd name="connsiteX23" fmla="*/ 7544713 w 11046723"/>
              <a:gd name="connsiteY23" fmla="*/ 169063 h 6858000"/>
              <a:gd name="connsiteX24" fmla="*/ 7778945 w 11046723"/>
              <a:gd name="connsiteY24" fmla="*/ 366172 h 6858000"/>
              <a:gd name="connsiteX25" fmla="*/ 7732713 w 11046723"/>
              <a:gd name="connsiteY25" fmla="*/ 330658 h 6858000"/>
              <a:gd name="connsiteX26" fmla="*/ 7544713 w 11046723"/>
              <a:gd name="connsiteY26" fmla="*/ 169063 h 6858000"/>
              <a:gd name="connsiteX27" fmla="*/ 7414333 w 11046723"/>
              <a:gd name="connsiteY27" fmla="*/ 56995 h 6858000"/>
              <a:gd name="connsiteX28" fmla="*/ 7544713 w 11046723"/>
              <a:gd name="connsiteY28" fmla="*/ 169063 h 6858000"/>
              <a:gd name="connsiteX29" fmla="*/ 7454642 w 11046723"/>
              <a:gd name="connsiteY29" fmla="*/ 93267 h 6858000"/>
              <a:gd name="connsiteX30" fmla="*/ 7414333 w 11046723"/>
              <a:gd name="connsiteY30" fmla="*/ 56995 h 6858000"/>
              <a:gd name="connsiteX31" fmla="*/ 7348739 w 11046723"/>
              <a:gd name="connsiteY31" fmla="*/ 0 h 6858000"/>
              <a:gd name="connsiteX32" fmla="*/ 7350996 w 11046723"/>
              <a:gd name="connsiteY32" fmla="*/ 0 h 6858000"/>
              <a:gd name="connsiteX33" fmla="*/ 7414333 w 11046723"/>
              <a:gd name="connsiteY33" fmla="*/ 56995 h 6858000"/>
              <a:gd name="connsiteX34" fmla="*/ 7364096 w 11046723"/>
              <a:gd name="connsiteY34" fmla="*/ 13813 h 6858000"/>
              <a:gd name="connsiteX35" fmla="*/ 7348739 w 11046723"/>
              <a:gd name="connsiteY35" fmla="*/ 0 h 6858000"/>
              <a:gd name="connsiteX36" fmla="*/ 1493836 w 11046723"/>
              <a:gd name="connsiteY36" fmla="*/ 0 h 6858000"/>
              <a:gd name="connsiteX37" fmla="*/ 1493841 w 11046723"/>
              <a:gd name="connsiteY37" fmla="*/ 0 h 6858000"/>
              <a:gd name="connsiteX38" fmla="*/ 1318737 w 11046723"/>
              <a:gd name="connsiteY38" fmla="*/ 70646 h 6858000"/>
              <a:gd name="connsiteX39" fmla="*/ 1036321 w 11046723"/>
              <a:gd name="connsiteY39" fmla="*/ 194312 h 6858000"/>
              <a:gd name="connsiteX40" fmla="*/ 130672 w 11046723"/>
              <a:gd name="connsiteY40" fmla="*/ 671514 h 6858000"/>
              <a:gd name="connsiteX41" fmla="*/ 0 w 11046723"/>
              <a:gd name="connsiteY41" fmla="*/ 747683 h 6858000"/>
              <a:gd name="connsiteX42" fmla="*/ 0 w 11046723"/>
              <a:gd name="connsiteY42" fmla="*/ 747682 h 6858000"/>
              <a:gd name="connsiteX43" fmla="*/ 130672 w 11046723"/>
              <a:gd name="connsiteY43" fmla="*/ 671513 h 6858000"/>
              <a:gd name="connsiteX44" fmla="*/ 1036321 w 11046723"/>
              <a:gd name="connsiteY44" fmla="*/ 194310 h 6858000"/>
              <a:gd name="connsiteX45" fmla="*/ 1318737 w 11046723"/>
              <a:gd name="connsiteY45" fmla="*/ 70644 h 6858000"/>
              <a:gd name="connsiteX46" fmla="*/ 1493836 w 11046723"/>
              <a:gd name="connsiteY46"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788060 w 11046723"/>
              <a:gd name="connsiteY14" fmla="*/ 373174 h 6858000"/>
              <a:gd name="connsiteX15" fmla="*/ 7951989 w 11046723"/>
              <a:gd name="connsiteY15" fmla="*/ 496695 h 6858000"/>
              <a:gd name="connsiteX16" fmla="*/ 7927023 w 11046723"/>
              <a:gd name="connsiteY16" fmla="*/ 479920 h 6858000"/>
              <a:gd name="connsiteX17" fmla="*/ 7788060 w 11046723"/>
              <a:gd name="connsiteY17" fmla="*/ 373174 h 6858000"/>
              <a:gd name="connsiteX18" fmla="*/ 7778945 w 11046723"/>
              <a:gd name="connsiteY18" fmla="*/ 366172 h 6858000"/>
              <a:gd name="connsiteX19" fmla="*/ 7788060 w 11046723"/>
              <a:gd name="connsiteY19" fmla="*/ 373174 h 6858000"/>
              <a:gd name="connsiteX20" fmla="*/ 7780464 w 11046723"/>
              <a:gd name="connsiteY20" fmla="*/ 367450 h 6858000"/>
              <a:gd name="connsiteX21" fmla="*/ 7778945 w 11046723"/>
              <a:gd name="connsiteY21" fmla="*/ 366172 h 6858000"/>
              <a:gd name="connsiteX22" fmla="*/ 7544713 w 11046723"/>
              <a:gd name="connsiteY22" fmla="*/ 169063 h 6858000"/>
              <a:gd name="connsiteX23" fmla="*/ 7778945 w 11046723"/>
              <a:gd name="connsiteY23" fmla="*/ 366172 h 6858000"/>
              <a:gd name="connsiteX24" fmla="*/ 7732713 w 11046723"/>
              <a:gd name="connsiteY24" fmla="*/ 330658 h 6858000"/>
              <a:gd name="connsiteX25" fmla="*/ 7544713 w 11046723"/>
              <a:gd name="connsiteY25" fmla="*/ 169063 h 6858000"/>
              <a:gd name="connsiteX26" fmla="*/ 7414333 w 11046723"/>
              <a:gd name="connsiteY26" fmla="*/ 56995 h 6858000"/>
              <a:gd name="connsiteX27" fmla="*/ 7544713 w 11046723"/>
              <a:gd name="connsiteY27" fmla="*/ 169063 h 6858000"/>
              <a:gd name="connsiteX28" fmla="*/ 7454642 w 11046723"/>
              <a:gd name="connsiteY28" fmla="*/ 93267 h 6858000"/>
              <a:gd name="connsiteX29" fmla="*/ 7414333 w 11046723"/>
              <a:gd name="connsiteY29" fmla="*/ 56995 h 6858000"/>
              <a:gd name="connsiteX30" fmla="*/ 7348739 w 11046723"/>
              <a:gd name="connsiteY30" fmla="*/ 0 h 6858000"/>
              <a:gd name="connsiteX31" fmla="*/ 7350996 w 11046723"/>
              <a:gd name="connsiteY31" fmla="*/ 0 h 6858000"/>
              <a:gd name="connsiteX32" fmla="*/ 7414333 w 11046723"/>
              <a:gd name="connsiteY32" fmla="*/ 56995 h 6858000"/>
              <a:gd name="connsiteX33" fmla="*/ 7364096 w 11046723"/>
              <a:gd name="connsiteY33" fmla="*/ 13813 h 6858000"/>
              <a:gd name="connsiteX34" fmla="*/ 7348739 w 11046723"/>
              <a:gd name="connsiteY34" fmla="*/ 0 h 6858000"/>
              <a:gd name="connsiteX35" fmla="*/ 1493836 w 11046723"/>
              <a:gd name="connsiteY35" fmla="*/ 0 h 6858000"/>
              <a:gd name="connsiteX36" fmla="*/ 1493841 w 11046723"/>
              <a:gd name="connsiteY36" fmla="*/ 0 h 6858000"/>
              <a:gd name="connsiteX37" fmla="*/ 1318737 w 11046723"/>
              <a:gd name="connsiteY37" fmla="*/ 70646 h 6858000"/>
              <a:gd name="connsiteX38" fmla="*/ 1036321 w 11046723"/>
              <a:gd name="connsiteY38" fmla="*/ 194312 h 6858000"/>
              <a:gd name="connsiteX39" fmla="*/ 130672 w 11046723"/>
              <a:gd name="connsiteY39" fmla="*/ 671514 h 6858000"/>
              <a:gd name="connsiteX40" fmla="*/ 0 w 11046723"/>
              <a:gd name="connsiteY40" fmla="*/ 747683 h 6858000"/>
              <a:gd name="connsiteX41" fmla="*/ 0 w 11046723"/>
              <a:gd name="connsiteY41" fmla="*/ 747682 h 6858000"/>
              <a:gd name="connsiteX42" fmla="*/ 130672 w 11046723"/>
              <a:gd name="connsiteY42" fmla="*/ 671513 h 6858000"/>
              <a:gd name="connsiteX43" fmla="*/ 1036321 w 11046723"/>
              <a:gd name="connsiteY43" fmla="*/ 194310 h 6858000"/>
              <a:gd name="connsiteX44" fmla="*/ 1318737 w 11046723"/>
              <a:gd name="connsiteY44" fmla="*/ 70644 h 6858000"/>
              <a:gd name="connsiteX45" fmla="*/ 1493836 w 11046723"/>
              <a:gd name="connsiteY45"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788060 w 11046723"/>
              <a:gd name="connsiteY14" fmla="*/ 373174 h 6858000"/>
              <a:gd name="connsiteX15" fmla="*/ 7951989 w 11046723"/>
              <a:gd name="connsiteY15" fmla="*/ 496695 h 6858000"/>
              <a:gd name="connsiteX16" fmla="*/ 7788060 w 11046723"/>
              <a:gd name="connsiteY16" fmla="*/ 373174 h 6858000"/>
              <a:gd name="connsiteX17" fmla="*/ 7778945 w 11046723"/>
              <a:gd name="connsiteY17" fmla="*/ 366172 h 6858000"/>
              <a:gd name="connsiteX18" fmla="*/ 7788060 w 11046723"/>
              <a:gd name="connsiteY18" fmla="*/ 373174 h 6858000"/>
              <a:gd name="connsiteX19" fmla="*/ 7780464 w 11046723"/>
              <a:gd name="connsiteY19" fmla="*/ 367450 h 6858000"/>
              <a:gd name="connsiteX20" fmla="*/ 7778945 w 11046723"/>
              <a:gd name="connsiteY20" fmla="*/ 366172 h 6858000"/>
              <a:gd name="connsiteX21" fmla="*/ 7544713 w 11046723"/>
              <a:gd name="connsiteY21" fmla="*/ 169063 h 6858000"/>
              <a:gd name="connsiteX22" fmla="*/ 7778945 w 11046723"/>
              <a:gd name="connsiteY22" fmla="*/ 366172 h 6858000"/>
              <a:gd name="connsiteX23" fmla="*/ 7732713 w 11046723"/>
              <a:gd name="connsiteY23" fmla="*/ 330658 h 6858000"/>
              <a:gd name="connsiteX24" fmla="*/ 7544713 w 11046723"/>
              <a:gd name="connsiteY24" fmla="*/ 169063 h 6858000"/>
              <a:gd name="connsiteX25" fmla="*/ 7414333 w 11046723"/>
              <a:gd name="connsiteY25" fmla="*/ 56995 h 6858000"/>
              <a:gd name="connsiteX26" fmla="*/ 7544713 w 11046723"/>
              <a:gd name="connsiteY26" fmla="*/ 169063 h 6858000"/>
              <a:gd name="connsiteX27" fmla="*/ 7454642 w 11046723"/>
              <a:gd name="connsiteY27" fmla="*/ 93267 h 6858000"/>
              <a:gd name="connsiteX28" fmla="*/ 7414333 w 11046723"/>
              <a:gd name="connsiteY28" fmla="*/ 56995 h 6858000"/>
              <a:gd name="connsiteX29" fmla="*/ 7348739 w 11046723"/>
              <a:gd name="connsiteY29" fmla="*/ 0 h 6858000"/>
              <a:gd name="connsiteX30" fmla="*/ 7350996 w 11046723"/>
              <a:gd name="connsiteY30" fmla="*/ 0 h 6858000"/>
              <a:gd name="connsiteX31" fmla="*/ 7414333 w 11046723"/>
              <a:gd name="connsiteY31" fmla="*/ 56995 h 6858000"/>
              <a:gd name="connsiteX32" fmla="*/ 7364096 w 11046723"/>
              <a:gd name="connsiteY32" fmla="*/ 13813 h 6858000"/>
              <a:gd name="connsiteX33" fmla="*/ 7348739 w 11046723"/>
              <a:gd name="connsiteY33" fmla="*/ 0 h 6858000"/>
              <a:gd name="connsiteX34" fmla="*/ 1493836 w 11046723"/>
              <a:gd name="connsiteY34" fmla="*/ 0 h 6858000"/>
              <a:gd name="connsiteX35" fmla="*/ 1493841 w 11046723"/>
              <a:gd name="connsiteY35" fmla="*/ 0 h 6858000"/>
              <a:gd name="connsiteX36" fmla="*/ 1318737 w 11046723"/>
              <a:gd name="connsiteY36" fmla="*/ 70646 h 6858000"/>
              <a:gd name="connsiteX37" fmla="*/ 1036321 w 11046723"/>
              <a:gd name="connsiteY37" fmla="*/ 194312 h 6858000"/>
              <a:gd name="connsiteX38" fmla="*/ 130672 w 11046723"/>
              <a:gd name="connsiteY38" fmla="*/ 671514 h 6858000"/>
              <a:gd name="connsiteX39" fmla="*/ 0 w 11046723"/>
              <a:gd name="connsiteY39" fmla="*/ 747683 h 6858000"/>
              <a:gd name="connsiteX40" fmla="*/ 0 w 11046723"/>
              <a:gd name="connsiteY40" fmla="*/ 747682 h 6858000"/>
              <a:gd name="connsiteX41" fmla="*/ 130672 w 11046723"/>
              <a:gd name="connsiteY41" fmla="*/ 671513 h 6858000"/>
              <a:gd name="connsiteX42" fmla="*/ 1036321 w 11046723"/>
              <a:gd name="connsiteY42" fmla="*/ 194310 h 6858000"/>
              <a:gd name="connsiteX43" fmla="*/ 1318737 w 11046723"/>
              <a:gd name="connsiteY43" fmla="*/ 70644 h 6858000"/>
              <a:gd name="connsiteX44" fmla="*/ 1493836 w 11046723"/>
              <a:gd name="connsiteY44"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778945 w 11046723"/>
              <a:gd name="connsiteY14" fmla="*/ 366172 h 6858000"/>
              <a:gd name="connsiteX15" fmla="*/ 7788060 w 11046723"/>
              <a:gd name="connsiteY15" fmla="*/ 373174 h 6858000"/>
              <a:gd name="connsiteX16" fmla="*/ 7780464 w 11046723"/>
              <a:gd name="connsiteY16" fmla="*/ 367450 h 6858000"/>
              <a:gd name="connsiteX17" fmla="*/ 7778945 w 11046723"/>
              <a:gd name="connsiteY17" fmla="*/ 366172 h 6858000"/>
              <a:gd name="connsiteX18" fmla="*/ 7544713 w 11046723"/>
              <a:gd name="connsiteY18" fmla="*/ 169063 h 6858000"/>
              <a:gd name="connsiteX19" fmla="*/ 7778945 w 11046723"/>
              <a:gd name="connsiteY19" fmla="*/ 366172 h 6858000"/>
              <a:gd name="connsiteX20" fmla="*/ 7732713 w 11046723"/>
              <a:gd name="connsiteY20" fmla="*/ 330658 h 6858000"/>
              <a:gd name="connsiteX21" fmla="*/ 7544713 w 11046723"/>
              <a:gd name="connsiteY21" fmla="*/ 169063 h 6858000"/>
              <a:gd name="connsiteX22" fmla="*/ 7414333 w 11046723"/>
              <a:gd name="connsiteY22" fmla="*/ 56995 h 6858000"/>
              <a:gd name="connsiteX23" fmla="*/ 7544713 w 11046723"/>
              <a:gd name="connsiteY23" fmla="*/ 169063 h 6858000"/>
              <a:gd name="connsiteX24" fmla="*/ 7454642 w 11046723"/>
              <a:gd name="connsiteY24" fmla="*/ 93267 h 6858000"/>
              <a:gd name="connsiteX25" fmla="*/ 7414333 w 11046723"/>
              <a:gd name="connsiteY25" fmla="*/ 56995 h 6858000"/>
              <a:gd name="connsiteX26" fmla="*/ 7348739 w 11046723"/>
              <a:gd name="connsiteY26" fmla="*/ 0 h 6858000"/>
              <a:gd name="connsiteX27" fmla="*/ 7350996 w 11046723"/>
              <a:gd name="connsiteY27" fmla="*/ 0 h 6858000"/>
              <a:gd name="connsiteX28" fmla="*/ 7414333 w 11046723"/>
              <a:gd name="connsiteY28" fmla="*/ 56995 h 6858000"/>
              <a:gd name="connsiteX29" fmla="*/ 7364096 w 11046723"/>
              <a:gd name="connsiteY29" fmla="*/ 13813 h 6858000"/>
              <a:gd name="connsiteX30" fmla="*/ 7348739 w 11046723"/>
              <a:gd name="connsiteY30" fmla="*/ 0 h 6858000"/>
              <a:gd name="connsiteX31" fmla="*/ 1493836 w 11046723"/>
              <a:gd name="connsiteY31" fmla="*/ 0 h 6858000"/>
              <a:gd name="connsiteX32" fmla="*/ 1493841 w 11046723"/>
              <a:gd name="connsiteY32" fmla="*/ 0 h 6858000"/>
              <a:gd name="connsiteX33" fmla="*/ 1318737 w 11046723"/>
              <a:gd name="connsiteY33" fmla="*/ 70646 h 6858000"/>
              <a:gd name="connsiteX34" fmla="*/ 1036321 w 11046723"/>
              <a:gd name="connsiteY34" fmla="*/ 194312 h 6858000"/>
              <a:gd name="connsiteX35" fmla="*/ 130672 w 11046723"/>
              <a:gd name="connsiteY35" fmla="*/ 671514 h 6858000"/>
              <a:gd name="connsiteX36" fmla="*/ 0 w 11046723"/>
              <a:gd name="connsiteY36" fmla="*/ 747683 h 6858000"/>
              <a:gd name="connsiteX37" fmla="*/ 0 w 11046723"/>
              <a:gd name="connsiteY37" fmla="*/ 747682 h 6858000"/>
              <a:gd name="connsiteX38" fmla="*/ 130672 w 11046723"/>
              <a:gd name="connsiteY38" fmla="*/ 671513 h 6858000"/>
              <a:gd name="connsiteX39" fmla="*/ 1036321 w 11046723"/>
              <a:gd name="connsiteY39" fmla="*/ 194310 h 6858000"/>
              <a:gd name="connsiteX40" fmla="*/ 1318737 w 11046723"/>
              <a:gd name="connsiteY40" fmla="*/ 70644 h 6858000"/>
              <a:gd name="connsiteX41" fmla="*/ 1493836 w 11046723"/>
              <a:gd name="connsiteY41"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778945 w 11046723"/>
              <a:gd name="connsiteY14" fmla="*/ 366172 h 6858000"/>
              <a:gd name="connsiteX15" fmla="*/ 7788060 w 11046723"/>
              <a:gd name="connsiteY15" fmla="*/ 373174 h 6858000"/>
              <a:gd name="connsiteX16" fmla="*/ 7780464 w 11046723"/>
              <a:gd name="connsiteY16" fmla="*/ 367450 h 6858000"/>
              <a:gd name="connsiteX17" fmla="*/ 7778945 w 11046723"/>
              <a:gd name="connsiteY17" fmla="*/ 366172 h 6858000"/>
              <a:gd name="connsiteX18" fmla="*/ 7544713 w 11046723"/>
              <a:gd name="connsiteY18" fmla="*/ 169063 h 6858000"/>
              <a:gd name="connsiteX19" fmla="*/ 7778945 w 11046723"/>
              <a:gd name="connsiteY19" fmla="*/ 366172 h 6858000"/>
              <a:gd name="connsiteX20" fmla="*/ 7544713 w 11046723"/>
              <a:gd name="connsiteY20" fmla="*/ 169063 h 6858000"/>
              <a:gd name="connsiteX21" fmla="*/ 7414333 w 11046723"/>
              <a:gd name="connsiteY21" fmla="*/ 56995 h 6858000"/>
              <a:gd name="connsiteX22" fmla="*/ 7544713 w 11046723"/>
              <a:gd name="connsiteY22" fmla="*/ 169063 h 6858000"/>
              <a:gd name="connsiteX23" fmla="*/ 7454642 w 11046723"/>
              <a:gd name="connsiteY23" fmla="*/ 93267 h 6858000"/>
              <a:gd name="connsiteX24" fmla="*/ 7414333 w 11046723"/>
              <a:gd name="connsiteY24" fmla="*/ 56995 h 6858000"/>
              <a:gd name="connsiteX25" fmla="*/ 7348739 w 11046723"/>
              <a:gd name="connsiteY25" fmla="*/ 0 h 6858000"/>
              <a:gd name="connsiteX26" fmla="*/ 7350996 w 11046723"/>
              <a:gd name="connsiteY26" fmla="*/ 0 h 6858000"/>
              <a:gd name="connsiteX27" fmla="*/ 7414333 w 11046723"/>
              <a:gd name="connsiteY27" fmla="*/ 56995 h 6858000"/>
              <a:gd name="connsiteX28" fmla="*/ 7364096 w 11046723"/>
              <a:gd name="connsiteY28" fmla="*/ 13813 h 6858000"/>
              <a:gd name="connsiteX29" fmla="*/ 7348739 w 11046723"/>
              <a:gd name="connsiteY29" fmla="*/ 0 h 6858000"/>
              <a:gd name="connsiteX30" fmla="*/ 1493836 w 11046723"/>
              <a:gd name="connsiteY30" fmla="*/ 0 h 6858000"/>
              <a:gd name="connsiteX31" fmla="*/ 1493841 w 11046723"/>
              <a:gd name="connsiteY31" fmla="*/ 0 h 6858000"/>
              <a:gd name="connsiteX32" fmla="*/ 1318737 w 11046723"/>
              <a:gd name="connsiteY32" fmla="*/ 70646 h 6858000"/>
              <a:gd name="connsiteX33" fmla="*/ 1036321 w 11046723"/>
              <a:gd name="connsiteY33" fmla="*/ 194312 h 6858000"/>
              <a:gd name="connsiteX34" fmla="*/ 130672 w 11046723"/>
              <a:gd name="connsiteY34" fmla="*/ 671514 h 6858000"/>
              <a:gd name="connsiteX35" fmla="*/ 0 w 11046723"/>
              <a:gd name="connsiteY35" fmla="*/ 747683 h 6858000"/>
              <a:gd name="connsiteX36" fmla="*/ 0 w 11046723"/>
              <a:gd name="connsiteY36" fmla="*/ 747682 h 6858000"/>
              <a:gd name="connsiteX37" fmla="*/ 130672 w 11046723"/>
              <a:gd name="connsiteY37" fmla="*/ 671513 h 6858000"/>
              <a:gd name="connsiteX38" fmla="*/ 1036321 w 11046723"/>
              <a:gd name="connsiteY38" fmla="*/ 194310 h 6858000"/>
              <a:gd name="connsiteX39" fmla="*/ 1318737 w 11046723"/>
              <a:gd name="connsiteY39" fmla="*/ 70644 h 6858000"/>
              <a:gd name="connsiteX40" fmla="*/ 1493836 w 11046723"/>
              <a:gd name="connsiteY40"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778945 w 11046723"/>
              <a:gd name="connsiteY14" fmla="*/ 366172 h 6858000"/>
              <a:gd name="connsiteX15" fmla="*/ 7788060 w 11046723"/>
              <a:gd name="connsiteY15" fmla="*/ 373174 h 6858000"/>
              <a:gd name="connsiteX16" fmla="*/ 7780464 w 11046723"/>
              <a:gd name="connsiteY16" fmla="*/ 367450 h 6858000"/>
              <a:gd name="connsiteX17" fmla="*/ 7778945 w 11046723"/>
              <a:gd name="connsiteY17" fmla="*/ 366172 h 6858000"/>
              <a:gd name="connsiteX18" fmla="*/ 7414333 w 11046723"/>
              <a:gd name="connsiteY18" fmla="*/ 56995 h 6858000"/>
              <a:gd name="connsiteX19" fmla="*/ 7544713 w 11046723"/>
              <a:gd name="connsiteY19" fmla="*/ 169063 h 6858000"/>
              <a:gd name="connsiteX20" fmla="*/ 7454642 w 11046723"/>
              <a:gd name="connsiteY20" fmla="*/ 93267 h 6858000"/>
              <a:gd name="connsiteX21" fmla="*/ 7414333 w 11046723"/>
              <a:gd name="connsiteY21" fmla="*/ 56995 h 6858000"/>
              <a:gd name="connsiteX22" fmla="*/ 7348739 w 11046723"/>
              <a:gd name="connsiteY22" fmla="*/ 0 h 6858000"/>
              <a:gd name="connsiteX23" fmla="*/ 7350996 w 11046723"/>
              <a:gd name="connsiteY23" fmla="*/ 0 h 6858000"/>
              <a:gd name="connsiteX24" fmla="*/ 7414333 w 11046723"/>
              <a:gd name="connsiteY24" fmla="*/ 56995 h 6858000"/>
              <a:gd name="connsiteX25" fmla="*/ 7364096 w 11046723"/>
              <a:gd name="connsiteY25" fmla="*/ 13813 h 6858000"/>
              <a:gd name="connsiteX26" fmla="*/ 7348739 w 11046723"/>
              <a:gd name="connsiteY26" fmla="*/ 0 h 6858000"/>
              <a:gd name="connsiteX27" fmla="*/ 1493836 w 11046723"/>
              <a:gd name="connsiteY27" fmla="*/ 0 h 6858000"/>
              <a:gd name="connsiteX28" fmla="*/ 1493841 w 11046723"/>
              <a:gd name="connsiteY28" fmla="*/ 0 h 6858000"/>
              <a:gd name="connsiteX29" fmla="*/ 1318737 w 11046723"/>
              <a:gd name="connsiteY29" fmla="*/ 70646 h 6858000"/>
              <a:gd name="connsiteX30" fmla="*/ 1036321 w 11046723"/>
              <a:gd name="connsiteY30" fmla="*/ 194312 h 6858000"/>
              <a:gd name="connsiteX31" fmla="*/ 130672 w 11046723"/>
              <a:gd name="connsiteY31" fmla="*/ 671514 h 6858000"/>
              <a:gd name="connsiteX32" fmla="*/ 0 w 11046723"/>
              <a:gd name="connsiteY32" fmla="*/ 747683 h 6858000"/>
              <a:gd name="connsiteX33" fmla="*/ 0 w 11046723"/>
              <a:gd name="connsiteY33" fmla="*/ 747682 h 6858000"/>
              <a:gd name="connsiteX34" fmla="*/ 130672 w 11046723"/>
              <a:gd name="connsiteY34" fmla="*/ 671513 h 6858000"/>
              <a:gd name="connsiteX35" fmla="*/ 1036321 w 11046723"/>
              <a:gd name="connsiteY35" fmla="*/ 194310 h 6858000"/>
              <a:gd name="connsiteX36" fmla="*/ 1318737 w 11046723"/>
              <a:gd name="connsiteY36" fmla="*/ 70644 h 6858000"/>
              <a:gd name="connsiteX37" fmla="*/ 1493836 w 11046723"/>
              <a:gd name="connsiteY37"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780464 w 11046723"/>
              <a:gd name="connsiteY14" fmla="*/ 367450 h 6858000"/>
              <a:gd name="connsiteX15" fmla="*/ 7788060 w 11046723"/>
              <a:gd name="connsiteY15" fmla="*/ 373174 h 6858000"/>
              <a:gd name="connsiteX16" fmla="*/ 7780464 w 11046723"/>
              <a:gd name="connsiteY16" fmla="*/ 367450 h 6858000"/>
              <a:gd name="connsiteX17" fmla="*/ 7414333 w 11046723"/>
              <a:gd name="connsiteY17" fmla="*/ 56995 h 6858000"/>
              <a:gd name="connsiteX18" fmla="*/ 7544713 w 11046723"/>
              <a:gd name="connsiteY18" fmla="*/ 169063 h 6858000"/>
              <a:gd name="connsiteX19" fmla="*/ 7454642 w 11046723"/>
              <a:gd name="connsiteY19" fmla="*/ 93267 h 6858000"/>
              <a:gd name="connsiteX20" fmla="*/ 7414333 w 11046723"/>
              <a:gd name="connsiteY20" fmla="*/ 56995 h 6858000"/>
              <a:gd name="connsiteX21" fmla="*/ 7348739 w 11046723"/>
              <a:gd name="connsiteY21" fmla="*/ 0 h 6858000"/>
              <a:gd name="connsiteX22" fmla="*/ 7350996 w 11046723"/>
              <a:gd name="connsiteY22" fmla="*/ 0 h 6858000"/>
              <a:gd name="connsiteX23" fmla="*/ 7414333 w 11046723"/>
              <a:gd name="connsiteY23" fmla="*/ 56995 h 6858000"/>
              <a:gd name="connsiteX24" fmla="*/ 7364096 w 11046723"/>
              <a:gd name="connsiteY24" fmla="*/ 13813 h 6858000"/>
              <a:gd name="connsiteX25" fmla="*/ 7348739 w 11046723"/>
              <a:gd name="connsiteY25" fmla="*/ 0 h 6858000"/>
              <a:gd name="connsiteX26" fmla="*/ 1493836 w 11046723"/>
              <a:gd name="connsiteY26" fmla="*/ 0 h 6858000"/>
              <a:gd name="connsiteX27" fmla="*/ 1493841 w 11046723"/>
              <a:gd name="connsiteY27" fmla="*/ 0 h 6858000"/>
              <a:gd name="connsiteX28" fmla="*/ 1318737 w 11046723"/>
              <a:gd name="connsiteY28" fmla="*/ 70646 h 6858000"/>
              <a:gd name="connsiteX29" fmla="*/ 1036321 w 11046723"/>
              <a:gd name="connsiteY29" fmla="*/ 194312 h 6858000"/>
              <a:gd name="connsiteX30" fmla="*/ 130672 w 11046723"/>
              <a:gd name="connsiteY30" fmla="*/ 671514 h 6858000"/>
              <a:gd name="connsiteX31" fmla="*/ 0 w 11046723"/>
              <a:gd name="connsiteY31" fmla="*/ 747683 h 6858000"/>
              <a:gd name="connsiteX32" fmla="*/ 0 w 11046723"/>
              <a:gd name="connsiteY32" fmla="*/ 747682 h 6858000"/>
              <a:gd name="connsiteX33" fmla="*/ 130672 w 11046723"/>
              <a:gd name="connsiteY33" fmla="*/ 671513 h 6858000"/>
              <a:gd name="connsiteX34" fmla="*/ 1036321 w 11046723"/>
              <a:gd name="connsiteY34" fmla="*/ 194310 h 6858000"/>
              <a:gd name="connsiteX35" fmla="*/ 1318737 w 11046723"/>
              <a:gd name="connsiteY35" fmla="*/ 70644 h 6858000"/>
              <a:gd name="connsiteX36" fmla="*/ 1493836 w 11046723"/>
              <a:gd name="connsiteY36"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414333 w 11046723"/>
              <a:gd name="connsiteY14" fmla="*/ 56995 h 6858000"/>
              <a:gd name="connsiteX15" fmla="*/ 7544713 w 11046723"/>
              <a:gd name="connsiteY15" fmla="*/ 169063 h 6858000"/>
              <a:gd name="connsiteX16" fmla="*/ 7454642 w 11046723"/>
              <a:gd name="connsiteY16" fmla="*/ 93267 h 6858000"/>
              <a:gd name="connsiteX17" fmla="*/ 7414333 w 11046723"/>
              <a:gd name="connsiteY17" fmla="*/ 56995 h 6858000"/>
              <a:gd name="connsiteX18" fmla="*/ 7348739 w 11046723"/>
              <a:gd name="connsiteY18" fmla="*/ 0 h 6858000"/>
              <a:gd name="connsiteX19" fmla="*/ 7350996 w 11046723"/>
              <a:gd name="connsiteY19" fmla="*/ 0 h 6858000"/>
              <a:gd name="connsiteX20" fmla="*/ 7414333 w 11046723"/>
              <a:gd name="connsiteY20" fmla="*/ 56995 h 6858000"/>
              <a:gd name="connsiteX21" fmla="*/ 7364096 w 11046723"/>
              <a:gd name="connsiteY21" fmla="*/ 13813 h 6858000"/>
              <a:gd name="connsiteX22" fmla="*/ 7348739 w 11046723"/>
              <a:gd name="connsiteY22" fmla="*/ 0 h 6858000"/>
              <a:gd name="connsiteX23" fmla="*/ 1493836 w 11046723"/>
              <a:gd name="connsiteY23" fmla="*/ 0 h 6858000"/>
              <a:gd name="connsiteX24" fmla="*/ 1493841 w 11046723"/>
              <a:gd name="connsiteY24" fmla="*/ 0 h 6858000"/>
              <a:gd name="connsiteX25" fmla="*/ 1318737 w 11046723"/>
              <a:gd name="connsiteY25" fmla="*/ 70646 h 6858000"/>
              <a:gd name="connsiteX26" fmla="*/ 1036321 w 11046723"/>
              <a:gd name="connsiteY26" fmla="*/ 194312 h 6858000"/>
              <a:gd name="connsiteX27" fmla="*/ 130672 w 11046723"/>
              <a:gd name="connsiteY27" fmla="*/ 671514 h 6858000"/>
              <a:gd name="connsiteX28" fmla="*/ 0 w 11046723"/>
              <a:gd name="connsiteY28" fmla="*/ 747683 h 6858000"/>
              <a:gd name="connsiteX29" fmla="*/ 0 w 11046723"/>
              <a:gd name="connsiteY29" fmla="*/ 747682 h 6858000"/>
              <a:gd name="connsiteX30" fmla="*/ 130672 w 11046723"/>
              <a:gd name="connsiteY30" fmla="*/ 671513 h 6858000"/>
              <a:gd name="connsiteX31" fmla="*/ 1036321 w 11046723"/>
              <a:gd name="connsiteY31" fmla="*/ 194310 h 6858000"/>
              <a:gd name="connsiteX32" fmla="*/ 1318737 w 11046723"/>
              <a:gd name="connsiteY32" fmla="*/ 70644 h 6858000"/>
              <a:gd name="connsiteX33" fmla="*/ 1493836 w 11046723"/>
              <a:gd name="connsiteY33"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414333 w 11046723"/>
              <a:gd name="connsiteY14" fmla="*/ 56995 h 6858000"/>
              <a:gd name="connsiteX15" fmla="*/ 7454642 w 11046723"/>
              <a:gd name="connsiteY15" fmla="*/ 93267 h 6858000"/>
              <a:gd name="connsiteX16" fmla="*/ 7414333 w 11046723"/>
              <a:gd name="connsiteY16" fmla="*/ 56995 h 6858000"/>
              <a:gd name="connsiteX17" fmla="*/ 7348739 w 11046723"/>
              <a:gd name="connsiteY17" fmla="*/ 0 h 6858000"/>
              <a:gd name="connsiteX18" fmla="*/ 7350996 w 11046723"/>
              <a:gd name="connsiteY18" fmla="*/ 0 h 6858000"/>
              <a:gd name="connsiteX19" fmla="*/ 7414333 w 11046723"/>
              <a:gd name="connsiteY19" fmla="*/ 56995 h 6858000"/>
              <a:gd name="connsiteX20" fmla="*/ 7364096 w 11046723"/>
              <a:gd name="connsiteY20" fmla="*/ 13813 h 6858000"/>
              <a:gd name="connsiteX21" fmla="*/ 7348739 w 11046723"/>
              <a:gd name="connsiteY21" fmla="*/ 0 h 6858000"/>
              <a:gd name="connsiteX22" fmla="*/ 1493836 w 11046723"/>
              <a:gd name="connsiteY22" fmla="*/ 0 h 6858000"/>
              <a:gd name="connsiteX23" fmla="*/ 1493841 w 11046723"/>
              <a:gd name="connsiteY23" fmla="*/ 0 h 6858000"/>
              <a:gd name="connsiteX24" fmla="*/ 1318737 w 11046723"/>
              <a:gd name="connsiteY24" fmla="*/ 70646 h 6858000"/>
              <a:gd name="connsiteX25" fmla="*/ 1036321 w 11046723"/>
              <a:gd name="connsiteY25" fmla="*/ 194312 h 6858000"/>
              <a:gd name="connsiteX26" fmla="*/ 130672 w 11046723"/>
              <a:gd name="connsiteY26" fmla="*/ 671514 h 6858000"/>
              <a:gd name="connsiteX27" fmla="*/ 0 w 11046723"/>
              <a:gd name="connsiteY27" fmla="*/ 747683 h 6858000"/>
              <a:gd name="connsiteX28" fmla="*/ 0 w 11046723"/>
              <a:gd name="connsiteY28" fmla="*/ 747682 h 6858000"/>
              <a:gd name="connsiteX29" fmla="*/ 130672 w 11046723"/>
              <a:gd name="connsiteY29" fmla="*/ 671513 h 6858000"/>
              <a:gd name="connsiteX30" fmla="*/ 1036321 w 11046723"/>
              <a:gd name="connsiteY30" fmla="*/ 194310 h 6858000"/>
              <a:gd name="connsiteX31" fmla="*/ 1318737 w 11046723"/>
              <a:gd name="connsiteY31" fmla="*/ 70644 h 6858000"/>
              <a:gd name="connsiteX32" fmla="*/ 1493836 w 11046723"/>
              <a:gd name="connsiteY32"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414333 w 11046723"/>
              <a:gd name="connsiteY14" fmla="*/ 56995 h 6858000"/>
              <a:gd name="connsiteX15" fmla="*/ 7454642 w 11046723"/>
              <a:gd name="connsiteY15" fmla="*/ 93267 h 6858000"/>
              <a:gd name="connsiteX16" fmla="*/ 7414333 w 11046723"/>
              <a:gd name="connsiteY16" fmla="*/ 56995 h 6858000"/>
              <a:gd name="connsiteX17" fmla="*/ 7348739 w 11046723"/>
              <a:gd name="connsiteY17" fmla="*/ 0 h 6858000"/>
              <a:gd name="connsiteX18" fmla="*/ 7350996 w 11046723"/>
              <a:gd name="connsiteY18" fmla="*/ 0 h 6858000"/>
              <a:gd name="connsiteX19" fmla="*/ 7364096 w 11046723"/>
              <a:gd name="connsiteY19" fmla="*/ 13813 h 6858000"/>
              <a:gd name="connsiteX20" fmla="*/ 7348739 w 11046723"/>
              <a:gd name="connsiteY20" fmla="*/ 0 h 6858000"/>
              <a:gd name="connsiteX21" fmla="*/ 1493836 w 11046723"/>
              <a:gd name="connsiteY21" fmla="*/ 0 h 6858000"/>
              <a:gd name="connsiteX22" fmla="*/ 1493841 w 11046723"/>
              <a:gd name="connsiteY22" fmla="*/ 0 h 6858000"/>
              <a:gd name="connsiteX23" fmla="*/ 1318737 w 11046723"/>
              <a:gd name="connsiteY23" fmla="*/ 70646 h 6858000"/>
              <a:gd name="connsiteX24" fmla="*/ 1036321 w 11046723"/>
              <a:gd name="connsiteY24" fmla="*/ 194312 h 6858000"/>
              <a:gd name="connsiteX25" fmla="*/ 130672 w 11046723"/>
              <a:gd name="connsiteY25" fmla="*/ 671514 h 6858000"/>
              <a:gd name="connsiteX26" fmla="*/ 0 w 11046723"/>
              <a:gd name="connsiteY26" fmla="*/ 747683 h 6858000"/>
              <a:gd name="connsiteX27" fmla="*/ 0 w 11046723"/>
              <a:gd name="connsiteY27" fmla="*/ 747682 h 6858000"/>
              <a:gd name="connsiteX28" fmla="*/ 130672 w 11046723"/>
              <a:gd name="connsiteY28" fmla="*/ 671513 h 6858000"/>
              <a:gd name="connsiteX29" fmla="*/ 1036321 w 11046723"/>
              <a:gd name="connsiteY29" fmla="*/ 194310 h 6858000"/>
              <a:gd name="connsiteX30" fmla="*/ 1318737 w 11046723"/>
              <a:gd name="connsiteY30" fmla="*/ 70644 h 6858000"/>
              <a:gd name="connsiteX31" fmla="*/ 1493836 w 11046723"/>
              <a:gd name="connsiteY31"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348739 w 11046723"/>
              <a:gd name="connsiteY14" fmla="*/ 0 h 6858000"/>
              <a:gd name="connsiteX15" fmla="*/ 7350996 w 11046723"/>
              <a:gd name="connsiteY15" fmla="*/ 0 h 6858000"/>
              <a:gd name="connsiteX16" fmla="*/ 7364096 w 11046723"/>
              <a:gd name="connsiteY16" fmla="*/ 13813 h 6858000"/>
              <a:gd name="connsiteX17" fmla="*/ 7348739 w 11046723"/>
              <a:gd name="connsiteY17" fmla="*/ 0 h 6858000"/>
              <a:gd name="connsiteX18" fmla="*/ 1493836 w 11046723"/>
              <a:gd name="connsiteY18" fmla="*/ 0 h 6858000"/>
              <a:gd name="connsiteX19" fmla="*/ 1493841 w 11046723"/>
              <a:gd name="connsiteY19" fmla="*/ 0 h 6858000"/>
              <a:gd name="connsiteX20" fmla="*/ 1318737 w 11046723"/>
              <a:gd name="connsiteY20" fmla="*/ 70646 h 6858000"/>
              <a:gd name="connsiteX21" fmla="*/ 1036321 w 11046723"/>
              <a:gd name="connsiteY21" fmla="*/ 194312 h 6858000"/>
              <a:gd name="connsiteX22" fmla="*/ 130672 w 11046723"/>
              <a:gd name="connsiteY22" fmla="*/ 671514 h 6858000"/>
              <a:gd name="connsiteX23" fmla="*/ 0 w 11046723"/>
              <a:gd name="connsiteY23" fmla="*/ 747683 h 6858000"/>
              <a:gd name="connsiteX24" fmla="*/ 0 w 11046723"/>
              <a:gd name="connsiteY24" fmla="*/ 747682 h 6858000"/>
              <a:gd name="connsiteX25" fmla="*/ 130672 w 11046723"/>
              <a:gd name="connsiteY25" fmla="*/ 671513 h 6858000"/>
              <a:gd name="connsiteX26" fmla="*/ 1036321 w 11046723"/>
              <a:gd name="connsiteY26" fmla="*/ 194310 h 6858000"/>
              <a:gd name="connsiteX27" fmla="*/ 1318737 w 11046723"/>
              <a:gd name="connsiteY27" fmla="*/ 70644 h 6858000"/>
              <a:gd name="connsiteX28" fmla="*/ 1493836 w 11046723"/>
              <a:gd name="connsiteY28"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364096 w 11046723"/>
              <a:gd name="connsiteY14" fmla="*/ 13813 h 6858000"/>
              <a:gd name="connsiteX15" fmla="*/ 7350996 w 11046723"/>
              <a:gd name="connsiteY15" fmla="*/ 0 h 6858000"/>
              <a:gd name="connsiteX16" fmla="*/ 7364096 w 11046723"/>
              <a:gd name="connsiteY16" fmla="*/ 13813 h 6858000"/>
              <a:gd name="connsiteX17" fmla="*/ 1493836 w 11046723"/>
              <a:gd name="connsiteY17" fmla="*/ 0 h 6858000"/>
              <a:gd name="connsiteX18" fmla="*/ 1493841 w 11046723"/>
              <a:gd name="connsiteY18" fmla="*/ 0 h 6858000"/>
              <a:gd name="connsiteX19" fmla="*/ 1318737 w 11046723"/>
              <a:gd name="connsiteY19" fmla="*/ 70646 h 6858000"/>
              <a:gd name="connsiteX20" fmla="*/ 1036321 w 11046723"/>
              <a:gd name="connsiteY20" fmla="*/ 194312 h 6858000"/>
              <a:gd name="connsiteX21" fmla="*/ 130672 w 11046723"/>
              <a:gd name="connsiteY21" fmla="*/ 671514 h 6858000"/>
              <a:gd name="connsiteX22" fmla="*/ 0 w 11046723"/>
              <a:gd name="connsiteY22" fmla="*/ 747683 h 6858000"/>
              <a:gd name="connsiteX23" fmla="*/ 0 w 11046723"/>
              <a:gd name="connsiteY23" fmla="*/ 747682 h 6858000"/>
              <a:gd name="connsiteX24" fmla="*/ 130672 w 11046723"/>
              <a:gd name="connsiteY24" fmla="*/ 671513 h 6858000"/>
              <a:gd name="connsiteX25" fmla="*/ 1036321 w 11046723"/>
              <a:gd name="connsiteY25" fmla="*/ 194310 h 6858000"/>
              <a:gd name="connsiteX26" fmla="*/ 1318737 w 11046723"/>
              <a:gd name="connsiteY26" fmla="*/ 70644 h 6858000"/>
              <a:gd name="connsiteX27" fmla="*/ 1493836 w 11046723"/>
              <a:gd name="connsiteY27"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364096 w 11046723"/>
              <a:gd name="connsiteY14" fmla="*/ 13813 h 6858000"/>
              <a:gd name="connsiteX15" fmla="*/ 7350996 w 11046723"/>
              <a:gd name="connsiteY15" fmla="*/ 0 h 6858000"/>
              <a:gd name="connsiteX16" fmla="*/ 7364096 w 11046723"/>
              <a:gd name="connsiteY16" fmla="*/ 13813 h 6858000"/>
              <a:gd name="connsiteX17" fmla="*/ 1493836 w 11046723"/>
              <a:gd name="connsiteY17" fmla="*/ 0 h 6858000"/>
              <a:gd name="connsiteX18" fmla="*/ 1493841 w 11046723"/>
              <a:gd name="connsiteY18" fmla="*/ 0 h 6858000"/>
              <a:gd name="connsiteX19" fmla="*/ 1318737 w 11046723"/>
              <a:gd name="connsiteY19" fmla="*/ 70646 h 6858000"/>
              <a:gd name="connsiteX20" fmla="*/ 1036321 w 11046723"/>
              <a:gd name="connsiteY20" fmla="*/ 194312 h 6858000"/>
              <a:gd name="connsiteX21" fmla="*/ 130672 w 11046723"/>
              <a:gd name="connsiteY21" fmla="*/ 671514 h 6858000"/>
              <a:gd name="connsiteX22" fmla="*/ 0 w 11046723"/>
              <a:gd name="connsiteY22" fmla="*/ 747683 h 6858000"/>
              <a:gd name="connsiteX23" fmla="*/ 130672 w 11046723"/>
              <a:gd name="connsiteY23" fmla="*/ 671513 h 6858000"/>
              <a:gd name="connsiteX24" fmla="*/ 1036321 w 11046723"/>
              <a:gd name="connsiteY24" fmla="*/ 194310 h 6858000"/>
              <a:gd name="connsiteX25" fmla="*/ 1318737 w 11046723"/>
              <a:gd name="connsiteY25" fmla="*/ 70644 h 6858000"/>
              <a:gd name="connsiteX26" fmla="*/ 1493836 w 11046723"/>
              <a:gd name="connsiteY26"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364096 w 11046723"/>
              <a:gd name="connsiteY14" fmla="*/ 13813 h 6858000"/>
              <a:gd name="connsiteX15" fmla="*/ 7350996 w 11046723"/>
              <a:gd name="connsiteY15" fmla="*/ 0 h 6858000"/>
              <a:gd name="connsiteX16" fmla="*/ 7364096 w 11046723"/>
              <a:gd name="connsiteY16" fmla="*/ 13813 h 6858000"/>
              <a:gd name="connsiteX17" fmla="*/ 1493836 w 11046723"/>
              <a:gd name="connsiteY17" fmla="*/ 0 h 6858000"/>
              <a:gd name="connsiteX18" fmla="*/ 1493841 w 11046723"/>
              <a:gd name="connsiteY18" fmla="*/ 0 h 6858000"/>
              <a:gd name="connsiteX19" fmla="*/ 1318737 w 11046723"/>
              <a:gd name="connsiteY19" fmla="*/ 70646 h 6858000"/>
              <a:gd name="connsiteX20" fmla="*/ 1036321 w 11046723"/>
              <a:gd name="connsiteY20" fmla="*/ 194312 h 6858000"/>
              <a:gd name="connsiteX21" fmla="*/ 130672 w 11046723"/>
              <a:gd name="connsiteY21" fmla="*/ 671514 h 6858000"/>
              <a:gd name="connsiteX22" fmla="*/ 0 w 11046723"/>
              <a:gd name="connsiteY22" fmla="*/ 747683 h 6858000"/>
              <a:gd name="connsiteX23" fmla="*/ 1036321 w 11046723"/>
              <a:gd name="connsiteY23" fmla="*/ 194310 h 6858000"/>
              <a:gd name="connsiteX24" fmla="*/ 1318737 w 11046723"/>
              <a:gd name="connsiteY24" fmla="*/ 70644 h 6858000"/>
              <a:gd name="connsiteX25" fmla="*/ 1493836 w 11046723"/>
              <a:gd name="connsiteY25"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364096 w 11046723"/>
              <a:gd name="connsiteY14" fmla="*/ 13813 h 6858000"/>
              <a:gd name="connsiteX15" fmla="*/ 7350996 w 11046723"/>
              <a:gd name="connsiteY15" fmla="*/ 0 h 6858000"/>
              <a:gd name="connsiteX16" fmla="*/ 7364096 w 11046723"/>
              <a:gd name="connsiteY16" fmla="*/ 13813 h 6858000"/>
              <a:gd name="connsiteX17" fmla="*/ 1493836 w 11046723"/>
              <a:gd name="connsiteY17" fmla="*/ 0 h 6858000"/>
              <a:gd name="connsiteX18" fmla="*/ 1493841 w 11046723"/>
              <a:gd name="connsiteY18" fmla="*/ 0 h 6858000"/>
              <a:gd name="connsiteX19" fmla="*/ 1318737 w 11046723"/>
              <a:gd name="connsiteY19" fmla="*/ 70646 h 6858000"/>
              <a:gd name="connsiteX20" fmla="*/ 1036321 w 11046723"/>
              <a:gd name="connsiteY20" fmla="*/ 194312 h 6858000"/>
              <a:gd name="connsiteX21" fmla="*/ 130672 w 11046723"/>
              <a:gd name="connsiteY21" fmla="*/ 671514 h 6858000"/>
              <a:gd name="connsiteX22" fmla="*/ 1036321 w 11046723"/>
              <a:gd name="connsiteY22" fmla="*/ 194310 h 6858000"/>
              <a:gd name="connsiteX23" fmla="*/ 1318737 w 11046723"/>
              <a:gd name="connsiteY23" fmla="*/ 70644 h 6858000"/>
              <a:gd name="connsiteX24" fmla="*/ 1493836 w 11046723"/>
              <a:gd name="connsiteY24"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364096 w 11046723"/>
              <a:gd name="connsiteY14" fmla="*/ 13813 h 6858000"/>
              <a:gd name="connsiteX15" fmla="*/ 7350996 w 11046723"/>
              <a:gd name="connsiteY15" fmla="*/ 0 h 6858000"/>
              <a:gd name="connsiteX16" fmla="*/ 7364096 w 11046723"/>
              <a:gd name="connsiteY16" fmla="*/ 13813 h 6858000"/>
              <a:gd name="connsiteX17" fmla="*/ 1493836 w 11046723"/>
              <a:gd name="connsiteY17" fmla="*/ 0 h 6858000"/>
              <a:gd name="connsiteX18" fmla="*/ 1493841 w 11046723"/>
              <a:gd name="connsiteY18" fmla="*/ 0 h 6858000"/>
              <a:gd name="connsiteX19" fmla="*/ 1318737 w 11046723"/>
              <a:gd name="connsiteY19" fmla="*/ 70646 h 6858000"/>
              <a:gd name="connsiteX20" fmla="*/ 1036321 w 11046723"/>
              <a:gd name="connsiteY20" fmla="*/ 194312 h 6858000"/>
              <a:gd name="connsiteX21" fmla="*/ 1036321 w 11046723"/>
              <a:gd name="connsiteY21" fmla="*/ 194310 h 6858000"/>
              <a:gd name="connsiteX22" fmla="*/ 1318737 w 11046723"/>
              <a:gd name="connsiteY22" fmla="*/ 70644 h 6858000"/>
              <a:gd name="connsiteX23" fmla="*/ 1493836 w 11046723"/>
              <a:gd name="connsiteY23"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364096 w 11046723"/>
              <a:gd name="connsiteY14" fmla="*/ 13813 h 6858000"/>
              <a:gd name="connsiteX15" fmla="*/ 7350996 w 11046723"/>
              <a:gd name="connsiteY15" fmla="*/ 0 h 6858000"/>
              <a:gd name="connsiteX16" fmla="*/ 7364096 w 11046723"/>
              <a:gd name="connsiteY16" fmla="*/ 13813 h 6858000"/>
              <a:gd name="connsiteX17" fmla="*/ 1493836 w 11046723"/>
              <a:gd name="connsiteY17" fmla="*/ 0 h 6858000"/>
              <a:gd name="connsiteX18" fmla="*/ 1493841 w 11046723"/>
              <a:gd name="connsiteY18" fmla="*/ 0 h 6858000"/>
              <a:gd name="connsiteX19" fmla="*/ 1318737 w 11046723"/>
              <a:gd name="connsiteY19" fmla="*/ 70646 h 6858000"/>
              <a:gd name="connsiteX20" fmla="*/ 1036321 w 11046723"/>
              <a:gd name="connsiteY20" fmla="*/ 194312 h 6858000"/>
              <a:gd name="connsiteX21" fmla="*/ 1318737 w 11046723"/>
              <a:gd name="connsiteY21" fmla="*/ 70644 h 6858000"/>
              <a:gd name="connsiteX22" fmla="*/ 1493836 w 11046723"/>
              <a:gd name="connsiteY22"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364096 w 11046723"/>
              <a:gd name="connsiteY14" fmla="*/ 13813 h 6858000"/>
              <a:gd name="connsiteX15" fmla="*/ 7350996 w 11046723"/>
              <a:gd name="connsiteY15" fmla="*/ 0 h 6858000"/>
              <a:gd name="connsiteX16" fmla="*/ 7364096 w 11046723"/>
              <a:gd name="connsiteY16" fmla="*/ 13813 h 6858000"/>
              <a:gd name="connsiteX17" fmla="*/ 1493836 w 11046723"/>
              <a:gd name="connsiteY17" fmla="*/ 0 h 6858000"/>
              <a:gd name="connsiteX18" fmla="*/ 1493841 w 11046723"/>
              <a:gd name="connsiteY18" fmla="*/ 0 h 6858000"/>
              <a:gd name="connsiteX19" fmla="*/ 1318737 w 11046723"/>
              <a:gd name="connsiteY19" fmla="*/ 70646 h 6858000"/>
              <a:gd name="connsiteX20" fmla="*/ 1318737 w 11046723"/>
              <a:gd name="connsiteY20" fmla="*/ 70644 h 6858000"/>
              <a:gd name="connsiteX21" fmla="*/ 1493836 w 11046723"/>
              <a:gd name="connsiteY21"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364096 w 11046723"/>
              <a:gd name="connsiteY14" fmla="*/ 13813 h 6858000"/>
              <a:gd name="connsiteX15" fmla="*/ 7350996 w 11046723"/>
              <a:gd name="connsiteY15" fmla="*/ 0 h 6858000"/>
              <a:gd name="connsiteX16" fmla="*/ 7364096 w 11046723"/>
              <a:gd name="connsiteY16" fmla="*/ 13813 h 6858000"/>
              <a:gd name="connsiteX17" fmla="*/ 1493836 w 11046723"/>
              <a:gd name="connsiteY17" fmla="*/ 0 h 6858000"/>
              <a:gd name="connsiteX18" fmla="*/ 1493841 w 11046723"/>
              <a:gd name="connsiteY18" fmla="*/ 0 h 6858000"/>
              <a:gd name="connsiteX19" fmla="*/ 1318737 w 11046723"/>
              <a:gd name="connsiteY19" fmla="*/ 70646 h 6858000"/>
              <a:gd name="connsiteX20" fmla="*/ 1493836 w 11046723"/>
              <a:gd name="connsiteY20"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364096 w 11046723"/>
              <a:gd name="connsiteY14" fmla="*/ 13813 h 6858000"/>
              <a:gd name="connsiteX15" fmla="*/ 7350996 w 11046723"/>
              <a:gd name="connsiteY15" fmla="*/ 0 h 6858000"/>
              <a:gd name="connsiteX16" fmla="*/ 7364096 w 11046723"/>
              <a:gd name="connsiteY16" fmla="*/ 13813 h 6858000"/>
              <a:gd name="connsiteX17" fmla="*/ 1493836 w 11046723"/>
              <a:gd name="connsiteY17" fmla="*/ 0 h 6858000"/>
              <a:gd name="connsiteX18" fmla="*/ 1493841 w 11046723"/>
              <a:gd name="connsiteY18" fmla="*/ 0 h 6858000"/>
              <a:gd name="connsiteX19" fmla="*/ 1493836 w 11046723"/>
              <a:gd name="connsiteY19" fmla="*/ 0 h 6858000"/>
              <a:gd name="connsiteX0" fmla="*/ 5416523 w 11046723"/>
              <a:gd name="connsiteY0" fmla="*/ 392344 h 6858000"/>
              <a:gd name="connsiteX1" fmla="*/ 7023101 w 11046723"/>
              <a:gd name="connsiteY1" fmla="*/ 661672 h 6858000"/>
              <a:gd name="connsiteX2" fmla="*/ 9331960 w 11046723"/>
              <a:gd name="connsiteY2" fmla="*/ 2457451 h 6858000"/>
              <a:gd name="connsiteX3" fmla="*/ 10982484 w 11046723"/>
              <a:gd name="connsiteY3" fmla="*/ 4320382 h 6858000"/>
              <a:gd name="connsiteX4" fmla="*/ 11046723 w 11046723"/>
              <a:gd name="connsiteY4" fmla="*/ 4399855 h 6858000"/>
              <a:gd name="connsiteX5" fmla="*/ 10950686 w 11046723"/>
              <a:gd name="connsiteY5" fmla="*/ 4415959 h 6858000"/>
              <a:gd name="connsiteX6" fmla="*/ 9269729 w 11046723"/>
              <a:gd name="connsiteY6" fmla="*/ 5092699 h 6858000"/>
              <a:gd name="connsiteX7" fmla="*/ 8111807 w 11046723"/>
              <a:gd name="connsiteY7" fmla="*/ 6820535 h 6858000"/>
              <a:gd name="connsiteX8" fmla="*/ 8096827 w 11046723"/>
              <a:gd name="connsiteY8" fmla="*/ 6858000 h 6858000"/>
              <a:gd name="connsiteX9" fmla="*/ 0 w 11046723"/>
              <a:gd name="connsiteY9" fmla="*/ 6858000 h 6858000"/>
              <a:gd name="connsiteX10" fmla="*/ 0 w 11046723"/>
              <a:gd name="connsiteY10" fmla="*/ 1312476 h 6858000"/>
              <a:gd name="connsiteX11" fmla="*/ 393384 w 11046723"/>
              <a:gd name="connsiteY11" fmla="*/ 1170010 h 6858000"/>
              <a:gd name="connsiteX12" fmla="*/ 1790701 w 11046723"/>
              <a:gd name="connsiteY12" fmla="*/ 836932 h 6858000"/>
              <a:gd name="connsiteX13" fmla="*/ 5416523 w 11046723"/>
              <a:gd name="connsiteY13" fmla="*/ 392344 h 6858000"/>
              <a:gd name="connsiteX14" fmla="*/ 7364096 w 11046723"/>
              <a:gd name="connsiteY14" fmla="*/ 13813 h 6858000"/>
              <a:gd name="connsiteX15" fmla="*/ 7350996 w 11046723"/>
              <a:gd name="connsiteY15" fmla="*/ 0 h 6858000"/>
              <a:gd name="connsiteX16" fmla="*/ 7364096 w 11046723"/>
              <a:gd name="connsiteY16" fmla="*/ 13813 h 6858000"/>
              <a:gd name="connsiteX0" fmla="*/ 5416523 w 11046723"/>
              <a:gd name="connsiteY0" fmla="*/ 1052 h 6466708"/>
              <a:gd name="connsiteX1" fmla="*/ 7023101 w 11046723"/>
              <a:gd name="connsiteY1" fmla="*/ 270380 h 6466708"/>
              <a:gd name="connsiteX2" fmla="*/ 9331960 w 11046723"/>
              <a:gd name="connsiteY2" fmla="*/ 2066159 h 6466708"/>
              <a:gd name="connsiteX3" fmla="*/ 10982484 w 11046723"/>
              <a:gd name="connsiteY3" fmla="*/ 3929090 h 6466708"/>
              <a:gd name="connsiteX4" fmla="*/ 11046723 w 11046723"/>
              <a:gd name="connsiteY4" fmla="*/ 4008563 h 6466708"/>
              <a:gd name="connsiteX5" fmla="*/ 10950686 w 11046723"/>
              <a:gd name="connsiteY5" fmla="*/ 4024667 h 6466708"/>
              <a:gd name="connsiteX6" fmla="*/ 9269729 w 11046723"/>
              <a:gd name="connsiteY6" fmla="*/ 4701407 h 6466708"/>
              <a:gd name="connsiteX7" fmla="*/ 8111807 w 11046723"/>
              <a:gd name="connsiteY7" fmla="*/ 6429243 h 6466708"/>
              <a:gd name="connsiteX8" fmla="*/ 8096827 w 11046723"/>
              <a:gd name="connsiteY8" fmla="*/ 6466708 h 6466708"/>
              <a:gd name="connsiteX9" fmla="*/ 0 w 11046723"/>
              <a:gd name="connsiteY9" fmla="*/ 6466708 h 6466708"/>
              <a:gd name="connsiteX10" fmla="*/ 0 w 11046723"/>
              <a:gd name="connsiteY10" fmla="*/ 921184 h 6466708"/>
              <a:gd name="connsiteX11" fmla="*/ 393384 w 11046723"/>
              <a:gd name="connsiteY11" fmla="*/ 778718 h 6466708"/>
              <a:gd name="connsiteX12" fmla="*/ 1790701 w 11046723"/>
              <a:gd name="connsiteY12" fmla="*/ 445640 h 6466708"/>
              <a:gd name="connsiteX13" fmla="*/ 5416523 w 11046723"/>
              <a:gd name="connsiteY13" fmla="*/ 1052 h 6466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46723" h="6466708">
                <a:moveTo>
                  <a:pt x="5416523" y="1052"/>
                </a:moveTo>
                <a:cubicBezTo>
                  <a:pt x="5969050" y="10600"/>
                  <a:pt x="6510338" y="86230"/>
                  <a:pt x="7023101" y="270380"/>
                </a:cubicBezTo>
                <a:cubicBezTo>
                  <a:pt x="7934960" y="598040"/>
                  <a:pt x="8686800" y="1374010"/>
                  <a:pt x="9331960" y="2066159"/>
                </a:cubicBezTo>
                <a:cubicBezTo>
                  <a:pt x="9890125" y="2663059"/>
                  <a:pt x="10449243" y="3284089"/>
                  <a:pt x="10982484" y="3929090"/>
                </a:cubicBezTo>
                <a:lnTo>
                  <a:pt x="11046723" y="4008563"/>
                </a:lnTo>
                <a:lnTo>
                  <a:pt x="10950686" y="4024667"/>
                </a:lnTo>
                <a:cubicBezTo>
                  <a:pt x="10386396" y="4130051"/>
                  <a:pt x="9749789" y="4328583"/>
                  <a:pt x="9269729" y="4701407"/>
                </a:cubicBezTo>
                <a:cubicBezTo>
                  <a:pt x="8684259" y="5156067"/>
                  <a:pt x="8351519" y="5842502"/>
                  <a:pt x="8111807" y="6429243"/>
                </a:cubicBezTo>
                <a:lnTo>
                  <a:pt x="8096827" y="6466708"/>
                </a:lnTo>
                <a:lnTo>
                  <a:pt x="0" y="6466708"/>
                </a:lnTo>
                <a:lnTo>
                  <a:pt x="0" y="921184"/>
                </a:lnTo>
                <a:lnTo>
                  <a:pt x="393384" y="778718"/>
                </a:lnTo>
                <a:cubicBezTo>
                  <a:pt x="857727" y="625186"/>
                  <a:pt x="1327786" y="513268"/>
                  <a:pt x="1790701" y="445640"/>
                </a:cubicBezTo>
                <a:cubicBezTo>
                  <a:pt x="2931003" y="278873"/>
                  <a:pt x="4200963" y="-19954"/>
                  <a:pt x="5416523" y="1052"/>
                </a:cubicBezTo>
                <a:close/>
              </a:path>
            </a:pathLst>
          </a:custGeom>
          <a:solidFill>
            <a:schemeClr val="bg1">
              <a:lumMod val="85000"/>
            </a:schemeClr>
          </a:solidFill>
        </p:spPr>
        <p:txBody>
          <a:bodyPr wrap="square" lIns="360000" tIns="720000" rIns="360000" bIns="360000">
            <a:noAutofit/>
          </a:bodyPr>
          <a:lstStyle>
            <a:lvl1pPr algn="ctr" rtl="0">
              <a:defRPr sz="1400"/>
            </a:lvl1pPr>
          </a:lstStyle>
          <a:p>
            <a:r>
              <a:rPr lang="nl-NL" noProof="0"/>
              <a:t>Invoegen beeld</a:t>
            </a:r>
          </a:p>
        </p:txBody>
      </p:sp>
      <p:pic>
        <p:nvPicPr>
          <p:cNvPr id="8" name="Picture 7">
            <a:extLst>
              <a:ext uri="{FF2B5EF4-FFF2-40B4-BE49-F238E27FC236}">
                <a16:creationId xmlns:a16="http://schemas.microsoft.com/office/drawing/2014/main" id="{DAA49266-6ABA-4152-B6A8-7D82B89F7AC4}"/>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0" y="0"/>
            <a:ext cx="12192000" cy="6857999"/>
          </a:xfrm>
          <a:prstGeom prst="rect">
            <a:avLst/>
          </a:prstGeom>
        </p:spPr>
      </p:pic>
      <p:grpSp>
        <p:nvGrpSpPr>
          <p:cNvPr id="11" name="Group 10">
            <a:extLst>
              <a:ext uri="{FF2B5EF4-FFF2-40B4-BE49-F238E27FC236}">
                <a16:creationId xmlns:a16="http://schemas.microsoft.com/office/drawing/2014/main" id="{5FACC42D-A6B5-4439-B983-D3F715DC3F3E}"/>
              </a:ext>
            </a:extLst>
          </p:cNvPr>
          <p:cNvGrpSpPr/>
          <p:nvPr userDrawn="1"/>
        </p:nvGrpSpPr>
        <p:grpSpPr>
          <a:xfrm>
            <a:off x="9085521" y="5170372"/>
            <a:ext cx="2794535" cy="1492150"/>
            <a:chOff x="9085521" y="5170372"/>
            <a:chExt cx="2794535" cy="1492150"/>
          </a:xfrm>
        </p:grpSpPr>
        <p:pic>
          <p:nvPicPr>
            <p:cNvPr id="12" name="Picture 11">
              <a:extLst>
                <a:ext uri="{FF2B5EF4-FFF2-40B4-BE49-F238E27FC236}">
                  <a16:creationId xmlns:a16="http://schemas.microsoft.com/office/drawing/2014/main" id="{BBFF3879-2BE1-4BD9-A173-B29E9D7D332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85521" y="6395896"/>
              <a:ext cx="1644566" cy="266626"/>
            </a:xfrm>
            <a:prstGeom prst="rect">
              <a:avLst/>
            </a:prstGeom>
          </p:spPr>
        </p:pic>
        <p:pic>
          <p:nvPicPr>
            <p:cNvPr id="13" name="Picture 12">
              <a:extLst>
                <a:ext uri="{FF2B5EF4-FFF2-40B4-BE49-F238E27FC236}">
                  <a16:creationId xmlns:a16="http://schemas.microsoft.com/office/drawing/2014/main" id="{A08BEA30-88BE-4692-B916-20FB32BE40AA}"/>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418660" y="5273120"/>
              <a:ext cx="974665" cy="976700"/>
            </a:xfrm>
            <a:prstGeom prst="rect">
              <a:avLst/>
            </a:prstGeom>
          </p:spPr>
        </p:pic>
        <p:pic>
          <p:nvPicPr>
            <p:cNvPr id="14" name="Picture 13">
              <a:extLst>
                <a:ext uri="{FF2B5EF4-FFF2-40B4-BE49-F238E27FC236}">
                  <a16:creationId xmlns:a16="http://schemas.microsoft.com/office/drawing/2014/main" id="{5FFA2CAA-CA24-4D4E-B997-235E5F763FC5}"/>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643190" y="5170372"/>
              <a:ext cx="1236866" cy="833258"/>
            </a:xfrm>
            <a:prstGeom prst="rect">
              <a:avLst/>
            </a:prstGeom>
          </p:spPr>
        </p:pic>
      </p:grpSp>
      <p:sp>
        <p:nvSpPr>
          <p:cNvPr id="15" name="Text Placeholder 51">
            <a:extLst>
              <a:ext uri="{FF2B5EF4-FFF2-40B4-BE49-F238E27FC236}">
                <a16:creationId xmlns:a16="http://schemas.microsoft.com/office/drawing/2014/main" id="{4FF00B9A-6782-454F-92F9-E15EE6817AF1}"/>
              </a:ext>
            </a:extLst>
          </p:cNvPr>
          <p:cNvSpPr>
            <a:spLocks noGrp="1"/>
          </p:cNvSpPr>
          <p:nvPr>
            <p:ph type="body" sz="quarter" idx="15" hasCustomPrompt="1"/>
          </p:nvPr>
        </p:nvSpPr>
        <p:spPr>
          <a:xfrm>
            <a:off x="892800" y="5976175"/>
            <a:ext cx="5978060" cy="246221"/>
          </a:xfrm>
          <a:noFill/>
        </p:spPr>
        <p:txBody>
          <a:bodyPr wrap="square" anchor="b">
            <a:spAutoFit/>
          </a:bodyPr>
          <a:lstStyle>
            <a:lvl1pPr marL="0" indent="0" algn="l">
              <a:lnSpc>
                <a:spcPct val="100000"/>
              </a:lnSpc>
              <a:spcBef>
                <a:spcPts val="0"/>
              </a:spcBef>
              <a:spcAft>
                <a:spcPts val="0"/>
              </a:spcAft>
              <a:buFontTx/>
              <a:buNone/>
              <a:defRPr sz="1600">
                <a:solidFill>
                  <a:schemeClr val="bg1"/>
                </a:solidFill>
              </a:defRPr>
            </a:lvl1pPr>
            <a:lvl2pPr marL="457200" indent="0" algn="r">
              <a:lnSpc>
                <a:spcPct val="100000"/>
              </a:lnSpc>
              <a:spcBef>
                <a:spcPts val="0"/>
              </a:spcBef>
              <a:spcAft>
                <a:spcPts val="0"/>
              </a:spcAft>
              <a:buFontTx/>
              <a:buNone/>
              <a:defRPr sz="1400">
                <a:solidFill>
                  <a:schemeClr val="bg1"/>
                </a:solidFill>
              </a:defRPr>
            </a:lvl2pPr>
            <a:lvl3pPr marL="914400" indent="0" algn="r">
              <a:buFontTx/>
              <a:buNone/>
              <a:defRPr sz="1200">
                <a:solidFill>
                  <a:schemeClr val="bg1"/>
                </a:solidFill>
              </a:defRPr>
            </a:lvl3pPr>
            <a:lvl4pPr marL="1371600" indent="0" algn="r">
              <a:buFontTx/>
              <a:buNone/>
              <a:defRPr sz="1200">
                <a:solidFill>
                  <a:schemeClr val="bg1"/>
                </a:solidFill>
              </a:defRPr>
            </a:lvl4pPr>
            <a:lvl5pPr marL="1828800" indent="0" algn="r">
              <a:buFontTx/>
              <a:buNone/>
              <a:defRPr sz="1200">
                <a:solidFill>
                  <a:schemeClr val="bg1"/>
                </a:solidFill>
              </a:defRPr>
            </a:lvl5pPr>
          </a:lstStyle>
          <a:p>
            <a:pPr lvl="0"/>
            <a:r>
              <a:rPr lang="nl-NL" noProof="0" dirty="0"/>
              <a:t>Presenter</a:t>
            </a:r>
          </a:p>
        </p:txBody>
      </p:sp>
      <p:sp>
        <p:nvSpPr>
          <p:cNvPr id="16" name="Title 1">
            <a:extLst>
              <a:ext uri="{FF2B5EF4-FFF2-40B4-BE49-F238E27FC236}">
                <a16:creationId xmlns:a16="http://schemas.microsoft.com/office/drawing/2014/main" id="{4F3C29C2-6875-4C81-9593-C3BEF9D0BDA5}"/>
              </a:ext>
            </a:extLst>
          </p:cNvPr>
          <p:cNvSpPr>
            <a:spLocks noGrp="1"/>
          </p:cNvSpPr>
          <p:nvPr>
            <p:ph type="ctrTitle"/>
          </p:nvPr>
        </p:nvSpPr>
        <p:spPr>
          <a:xfrm>
            <a:off x="894131" y="1844316"/>
            <a:ext cx="6309979" cy="553998"/>
          </a:xfrm>
        </p:spPr>
        <p:txBody>
          <a:bodyPr vert="horz" anchor="b"/>
          <a:lstStyle>
            <a:lvl1pPr algn="l">
              <a:defRPr sz="4000" b="1">
                <a:latin typeface="+mn-lt"/>
              </a:defRPr>
            </a:lvl1pPr>
          </a:lstStyle>
          <a:p>
            <a:endParaRPr lang="nl-NL" noProof="0" dirty="0"/>
          </a:p>
        </p:txBody>
      </p:sp>
      <p:sp>
        <p:nvSpPr>
          <p:cNvPr id="17" name="Subtitle 2">
            <a:extLst>
              <a:ext uri="{FF2B5EF4-FFF2-40B4-BE49-F238E27FC236}">
                <a16:creationId xmlns:a16="http://schemas.microsoft.com/office/drawing/2014/main" id="{012D5EDA-2B24-45D8-8853-300108AFEB64}"/>
              </a:ext>
            </a:extLst>
          </p:cNvPr>
          <p:cNvSpPr>
            <a:spLocks noGrp="1"/>
          </p:cNvSpPr>
          <p:nvPr>
            <p:ph type="subTitle" idx="1"/>
          </p:nvPr>
        </p:nvSpPr>
        <p:spPr>
          <a:xfrm>
            <a:off x="894131" y="2423475"/>
            <a:ext cx="6309979" cy="369332"/>
          </a:xfrm>
        </p:spPr>
        <p:txBody>
          <a:bodyPr/>
          <a:lstStyle>
            <a:lvl1pPr marL="0" indent="0" algn="l">
              <a:buNone/>
              <a:defRPr sz="2400" spc="2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l-NL" noProof="0" dirty="0"/>
          </a:p>
        </p:txBody>
      </p:sp>
    </p:spTree>
    <p:extLst>
      <p:ext uri="{BB962C8B-B14F-4D97-AF65-F5344CB8AC3E}">
        <p14:creationId xmlns:p14="http://schemas.microsoft.com/office/powerpoint/2010/main" val="15787604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 II-c / geen bee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A6A69BE-8ACE-4B3F-BA14-70E31DB23CD0}"/>
              </a:ext>
            </a:extLst>
          </p:cNvPr>
          <p:cNvGraphicFramePr>
            <a:graphicFrameLocks noChangeAspect="1"/>
          </p:cNvGraphicFramePr>
          <p:nvPr userDrawn="1">
            <p:custDataLst>
              <p:tags r:id="rId1"/>
            </p:custDataLst>
            <p:extLst>
              <p:ext uri="{D42A27DB-BD31-4B8C-83A1-F6EECF244321}">
                <p14:modId xmlns:p14="http://schemas.microsoft.com/office/powerpoint/2010/main" val="2015715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9" imgH="429" progId="TCLayout.ActiveDocument.1">
                  <p:embed/>
                </p:oleObj>
              </mc:Choice>
              <mc:Fallback>
                <p:oleObj name="think-cell Slide" r:id="rId3" imgW="429" imgH="429" progId="TCLayout.ActiveDocument.1">
                  <p:embed/>
                  <p:pic>
                    <p:nvPicPr>
                      <p:cNvPr id="6" name="Object 5" hidden="1">
                        <a:extLst>
                          <a:ext uri="{FF2B5EF4-FFF2-40B4-BE49-F238E27FC236}">
                            <a16:creationId xmlns:a16="http://schemas.microsoft.com/office/drawing/2014/main" id="{CA6A69BE-8ACE-4B3F-BA14-70E31DB23C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DAA49266-6ABA-4152-B6A8-7D82B89F7AC4}"/>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0" y="0"/>
            <a:ext cx="12192000" cy="6857999"/>
          </a:xfrm>
          <a:prstGeom prst="rect">
            <a:avLst/>
          </a:prstGeom>
        </p:spPr>
      </p:pic>
      <p:grpSp>
        <p:nvGrpSpPr>
          <p:cNvPr id="11" name="Group 10">
            <a:extLst>
              <a:ext uri="{FF2B5EF4-FFF2-40B4-BE49-F238E27FC236}">
                <a16:creationId xmlns:a16="http://schemas.microsoft.com/office/drawing/2014/main" id="{5FACC42D-A6B5-4439-B983-D3F715DC3F3E}"/>
              </a:ext>
            </a:extLst>
          </p:cNvPr>
          <p:cNvGrpSpPr/>
          <p:nvPr userDrawn="1"/>
        </p:nvGrpSpPr>
        <p:grpSpPr>
          <a:xfrm>
            <a:off x="9085521" y="5170372"/>
            <a:ext cx="2794535" cy="1492150"/>
            <a:chOff x="9085521" y="5170372"/>
            <a:chExt cx="2794535" cy="1492150"/>
          </a:xfrm>
        </p:grpSpPr>
        <p:pic>
          <p:nvPicPr>
            <p:cNvPr id="12" name="Picture 11">
              <a:extLst>
                <a:ext uri="{FF2B5EF4-FFF2-40B4-BE49-F238E27FC236}">
                  <a16:creationId xmlns:a16="http://schemas.microsoft.com/office/drawing/2014/main" id="{BBFF3879-2BE1-4BD9-A173-B29E9D7D332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85521" y="6395896"/>
              <a:ext cx="1644566" cy="266626"/>
            </a:xfrm>
            <a:prstGeom prst="rect">
              <a:avLst/>
            </a:prstGeom>
          </p:spPr>
        </p:pic>
        <p:pic>
          <p:nvPicPr>
            <p:cNvPr id="13" name="Picture 12">
              <a:extLst>
                <a:ext uri="{FF2B5EF4-FFF2-40B4-BE49-F238E27FC236}">
                  <a16:creationId xmlns:a16="http://schemas.microsoft.com/office/drawing/2014/main" id="{A08BEA30-88BE-4692-B916-20FB32BE40AA}"/>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418660" y="5273120"/>
              <a:ext cx="974665" cy="976700"/>
            </a:xfrm>
            <a:prstGeom prst="rect">
              <a:avLst/>
            </a:prstGeom>
          </p:spPr>
        </p:pic>
        <p:pic>
          <p:nvPicPr>
            <p:cNvPr id="14" name="Picture 13">
              <a:extLst>
                <a:ext uri="{FF2B5EF4-FFF2-40B4-BE49-F238E27FC236}">
                  <a16:creationId xmlns:a16="http://schemas.microsoft.com/office/drawing/2014/main" id="{5FFA2CAA-CA24-4D4E-B997-235E5F763FC5}"/>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643190" y="5170372"/>
              <a:ext cx="1236866" cy="833258"/>
            </a:xfrm>
            <a:prstGeom prst="rect">
              <a:avLst/>
            </a:prstGeom>
          </p:spPr>
        </p:pic>
      </p:grpSp>
      <p:sp>
        <p:nvSpPr>
          <p:cNvPr id="15" name="Text Placeholder 51">
            <a:extLst>
              <a:ext uri="{FF2B5EF4-FFF2-40B4-BE49-F238E27FC236}">
                <a16:creationId xmlns:a16="http://schemas.microsoft.com/office/drawing/2014/main" id="{306CC427-BE9C-4725-88BE-7F1A5DC4252C}"/>
              </a:ext>
            </a:extLst>
          </p:cNvPr>
          <p:cNvSpPr>
            <a:spLocks noGrp="1"/>
          </p:cNvSpPr>
          <p:nvPr>
            <p:ph type="body" sz="quarter" idx="15" hasCustomPrompt="1"/>
          </p:nvPr>
        </p:nvSpPr>
        <p:spPr>
          <a:xfrm>
            <a:off x="892800" y="5976175"/>
            <a:ext cx="5978060" cy="246221"/>
          </a:xfrm>
          <a:noFill/>
        </p:spPr>
        <p:txBody>
          <a:bodyPr wrap="square" anchor="b">
            <a:spAutoFit/>
          </a:bodyPr>
          <a:lstStyle>
            <a:lvl1pPr marL="0" indent="0" algn="l">
              <a:lnSpc>
                <a:spcPct val="100000"/>
              </a:lnSpc>
              <a:spcBef>
                <a:spcPts val="0"/>
              </a:spcBef>
              <a:spcAft>
                <a:spcPts val="0"/>
              </a:spcAft>
              <a:buFontTx/>
              <a:buNone/>
              <a:defRPr sz="1600">
                <a:solidFill>
                  <a:schemeClr val="tx1"/>
                </a:solidFill>
              </a:defRPr>
            </a:lvl1pPr>
            <a:lvl2pPr marL="457200" indent="0" algn="r">
              <a:lnSpc>
                <a:spcPct val="100000"/>
              </a:lnSpc>
              <a:spcBef>
                <a:spcPts val="0"/>
              </a:spcBef>
              <a:spcAft>
                <a:spcPts val="0"/>
              </a:spcAft>
              <a:buFontTx/>
              <a:buNone/>
              <a:defRPr sz="1400">
                <a:solidFill>
                  <a:schemeClr val="bg1"/>
                </a:solidFill>
              </a:defRPr>
            </a:lvl2pPr>
            <a:lvl3pPr marL="914400" indent="0" algn="r">
              <a:buFontTx/>
              <a:buNone/>
              <a:defRPr sz="1200">
                <a:solidFill>
                  <a:schemeClr val="bg1"/>
                </a:solidFill>
              </a:defRPr>
            </a:lvl3pPr>
            <a:lvl4pPr marL="1371600" indent="0" algn="r">
              <a:buFontTx/>
              <a:buNone/>
              <a:defRPr sz="1200">
                <a:solidFill>
                  <a:schemeClr val="bg1"/>
                </a:solidFill>
              </a:defRPr>
            </a:lvl4pPr>
            <a:lvl5pPr marL="1828800" indent="0" algn="r">
              <a:buFontTx/>
              <a:buNone/>
              <a:defRPr sz="1200">
                <a:solidFill>
                  <a:schemeClr val="bg1"/>
                </a:solidFill>
              </a:defRPr>
            </a:lvl5pPr>
          </a:lstStyle>
          <a:p>
            <a:pPr lvl="0"/>
            <a:r>
              <a:rPr lang="nl-NL" noProof="0" dirty="0"/>
              <a:t>Presenter</a:t>
            </a:r>
          </a:p>
        </p:txBody>
      </p:sp>
      <p:sp>
        <p:nvSpPr>
          <p:cNvPr id="16" name="Title 1">
            <a:extLst>
              <a:ext uri="{FF2B5EF4-FFF2-40B4-BE49-F238E27FC236}">
                <a16:creationId xmlns:a16="http://schemas.microsoft.com/office/drawing/2014/main" id="{AB499B3E-EECE-4F98-B548-7EC1E2BE47BB}"/>
              </a:ext>
            </a:extLst>
          </p:cNvPr>
          <p:cNvSpPr>
            <a:spLocks noGrp="1"/>
          </p:cNvSpPr>
          <p:nvPr>
            <p:ph type="ctrTitle"/>
          </p:nvPr>
        </p:nvSpPr>
        <p:spPr>
          <a:xfrm>
            <a:off x="894131" y="1844316"/>
            <a:ext cx="6309979" cy="553998"/>
          </a:xfrm>
        </p:spPr>
        <p:txBody>
          <a:bodyPr vert="horz" anchor="b"/>
          <a:lstStyle>
            <a:lvl1pPr algn="l">
              <a:defRPr sz="4000" b="1">
                <a:latin typeface="+mn-lt"/>
              </a:defRPr>
            </a:lvl1pPr>
          </a:lstStyle>
          <a:p>
            <a:endParaRPr lang="nl-NL" noProof="0" dirty="0"/>
          </a:p>
        </p:txBody>
      </p:sp>
      <p:sp>
        <p:nvSpPr>
          <p:cNvPr id="17" name="Subtitle 2">
            <a:extLst>
              <a:ext uri="{FF2B5EF4-FFF2-40B4-BE49-F238E27FC236}">
                <a16:creationId xmlns:a16="http://schemas.microsoft.com/office/drawing/2014/main" id="{E1C49693-5BE2-4657-BB1C-EFC88324A3AF}"/>
              </a:ext>
            </a:extLst>
          </p:cNvPr>
          <p:cNvSpPr>
            <a:spLocks noGrp="1"/>
          </p:cNvSpPr>
          <p:nvPr>
            <p:ph type="subTitle" idx="1"/>
          </p:nvPr>
        </p:nvSpPr>
        <p:spPr>
          <a:xfrm>
            <a:off x="894131" y="2423475"/>
            <a:ext cx="6309979" cy="369332"/>
          </a:xfrm>
        </p:spPr>
        <p:txBody>
          <a:bodyPr/>
          <a:lstStyle>
            <a:lvl1pPr marL="0" indent="0" algn="l">
              <a:buNone/>
              <a:defRPr sz="2400" spc="2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l-NL" noProof="0" dirty="0"/>
          </a:p>
        </p:txBody>
      </p:sp>
    </p:spTree>
    <p:extLst>
      <p:ext uri="{BB962C8B-B14F-4D97-AF65-F5344CB8AC3E}">
        <p14:creationId xmlns:p14="http://schemas.microsoft.com/office/powerpoint/2010/main" val="18279621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kst - beeld I">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0ED13-85AF-48A2-B969-4D6B3D0E2E20}"/>
              </a:ext>
            </a:extLst>
          </p:cNvPr>
          <p:cNvGraphicFramePr>
            <a:graphicFrameLocks noChangeAspect="1"/>
          </p:cNvGraphicFramePr>
          <p:nvPr userDrawn="1">
            <p:custDataLst>
              <p:tags r:id="rId1"/>
            </p:custDataLst>
            <p:extLst>
              <p:ext uri="{D42A27DB-BD31-4B8C-83A1-F6EECF244321}">
                <p14:modId xmlns:p14="http://schemas.microsoft.com/office/powerpoint/2010/main" val="234270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9" imgH="429" progId="TCLayout.ActiveDocument.1">
                  <p:embed/>
                </p:oleObj>
              </mc:Choice>
              <mc:Fallback>
                <p:oleObj name="think-cell Slide" r:id="rId3" imgW="429" imgH="429" progId="TCLayout.ActiveDocument.1">
                  <p:embed/>
                  <p:pic>
                    <p:nvPicPr>
                      <p:cNvPr id="4" name="Object 3" hidden="1">
                        <a:extLst>
                          <a:ext uri="{FF2B5EF4-FFF2-40B4-BE49-F238E27FC236}">
                            <a16:creationId xmlns:a16="http://schemas.microsoft.com/office/drawing/2014/main" id="{07A0ED13-85AF-48A2-B969-4D6B3D0E2E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Picture Placeholder 50">
            <a:extLst>
              <a:ext uri="{FF2B5EF4-FFF2-40B4-BE49-F238E27FC236}">
                <a16:creationId xmlns:a16="http://schemas.microsoft.com/office/drawing/2014/main" id="{3B12F37D-DC30-4804-B6CD-222102E08DFB}"/>
              </a:ext>
            </a:extLst>
          </p:cNvPr>
          <p:cNvSpPr>
            <a:spLocks noGrp="1"/>
          </p:cNvSpPr>
          <p:nvPr>
            <p:ph type="pic" sz="quarter" idx="10" hasCustomPrompt="1"/>
          </p:nvPr>
        </p:nvSpPr>
        <p:spPr>
          <a:xfrm>
            <a:off x="2" y="-2381"/>
            <a:ext cx="2855592" cy="6860382"/>
          </a:xfrm>
          <a:custGeom>
            <a:avLst/>
            <a:gdLst>
              <a:gd name="connsiteX0" fmla="*/ 2273499 w 2836543"/>
              <a:gd name="connsiteY0" fmla="*/ 4259946 h 6858000"/>
              <a:gd name="connsiteX1" fmla="*/ 2309923 w 2836543"/>
              <a:gd name="connsiteY1" fmla="*/ 4499146 h 6858000"/>
              <a:gd name="connsiteX2" fmla="*/ 2495549 w 2836543"/>
              <a:gd name="connsiteY2" fmla="*/ 6445251 h 6858000"/>
              <a:gd name="connsiteX3" fmla="*/ 2547021 w 2836543"/>
              <a:gd name="connsiteY3" fmla="*/ 6858000 h 6858000"/>
              <a:gd name="connsiteX4" fmla="*/ 2543889 w 2836543"/>
              <a:gd name="connsiteY4" fmla="*/ 6858000 h 6858000"/>
              <a:gd name="connsiteX5" fmla="*/ 2495550 w 2836543"/>
              <a:gd name="connsiteY5" fmla="*/ 6470649 h 6858000"/>
              <a:gd name="connsiteX6" fmla="*/ 2362359 w 2836543"/>
              <a:gd name="connsiteY6" fmla="*/ 4985543 h 6858000"/>
              <a:gd name="connsiteX7" fmla="*/ 2267364 w 2836543"/>
              <a:gd name="connsiteY7" fmla="*/ 4219656 h 6858000"/>
              <a:gd name="connsiteX8" fmla="*/ 2272130 w 2836543"/>
              <a:gd name="connsiteY8" fmla="*/ 4248765 h 6858000"/>
              <a:gd name="connsiteX9" fmla="*/ 2273499 w 2836543"/>
              <a:gd name="connsiteY9" fmla="*/ 4259946 h 6858000"/>
              <a:gd name="connsiteX10" fmla="*/ 0 w 2836543"/>
              <a:gd name="connsiteY10" fmla="*/ 0 h 6858000"/>
              <a:gd name="connsiteX11" fmla="*/ 2836543 w 2836543"/>
              <a:gd name="connsiteY11" fmla="*/ 0 h 6858000"/>
              <a:gd name="connsiteX12" fmla="*/ 2836543 w 2836543"/>
              <a:gd name="connsiteY12" fmla="*/ 18530 h 6858000"/>
              <a:gd name="connsiteX13" fmla="*/ 2563971 w 2836543"/>
              <a:gd name="connsiteY13" fmla="*/ 300832 h 6858000"/>
              <a:gd name="connsiteX14" fmla="*/ 2274570 w 2836543"/>
              <a:gd name="connsiteY14" fmla="*/ 637540 h 6858000"/>
              <a:gd name="connsiteX15" fmla="*/ 2010410 w 2836543"/>
              <a:gd name="connsiteY15" fmla="*/ 3011170 h 6858000"/>
              <a:gd name="connsiteX16" fmla="*/ 2138679 w 2836543"/>
              <a:gd name="connsiteY16" fmla="*/ 3515360 h 6858000"/>
              <a:gd name="connsiteX17" fmla="*/ 2141639 w 2836543"/>
              <a:gd name="connsiteY17" fmla="*/ 3505964 h 6858000"/>
              <a:gd name="connsiteX18" fmla="*/ 2212093 w 2836543"/>
              <a:gd name="connsiteY18" fmla="*/ 3856681 h 6858000"/>
              <a:gd name="connsiteX19" fmla="*/ 2267364 w 2836543"/>
              <a:gd name="connsiteY19" fmla="*/ 4219656 h 6858000"/>
              <a:gd name="connsiteX20" fmla="*/ 2212095 w 2836543"/>
              <a:gd name="connsiteY20" fmla="*/ 3882079 h 6858000"/>
              <a:gd name="connsiteX21" fmla="*/ 2138681 w 2836543"/>
              <a:gd name="connsiteY21" fmla="*/ 3516629 h 6858000"/>
              <a:gd name="connsiteX22" fmla="*/ 1898650 w 2836543"/>
              <a:gd name="connsiteY22" fmla="*/ 4781549 h 6858000"/>
              <a:gd name="connsiteX23" fmla="*/ 2161540 w 2836543"/>
              <a:gd name="connsiteY23" fmla="*/ 6713219 h 6858000"/>
              <a:gd name="connsiteX24" fmla="*/ 2211846 w 2836543"/>
              <a:gd name="connsiteY24" fmla="*/ 6858000 h 6858000"/>
              <a:gd name="connsiteX25" fmla="*/ 0 w 2836543"/>
              <a:gd name="connsiteY25" fmla="*/ 6858000 h 6858000"/>
              <a:gd name="connsiteX0" fmla="*/ 2273499 w 2836543"/>
              <a:gd name="connsiteY0" fmla="*/ 4259946 h 6858000"/>
              <a:gd name="connsiteX1" fmla="*/ 2309923 w 2836543"/>
              <a:gd name="connsiteY1" fmla="*/ 4499146 h 6858000"/>
              <a:gd name="connsiteX2" fmla="*/ 2495549 w 2836543"/>
              <a:gd name="connsiteY2" fmla="*/ 6445251 h 6858000"/>
              <a:gd name="connsiteX3" fmla="*/ 2547021 w 2836543"/>
              <a:gd name="connsiteY3" fmla="*/ 6858000 h 6858000"/>
              <a:gd name="connsiteX4" fmla="*/ 2495550 w 2836543"/>
              <a:gd name="connsiteY4" fmla="*/ 6470649 h 6858000"/>
              <a:gd name="connsiteX5" fmla="*/ 2362359 w 2836543"/>
              <a:gd name="connsiteY5" fmla="*/ 4985543 h 6858000"/>
              <a:gd name="connsiteX6" fmla="*/ 2273499 w 2836543"/>
              <a:gd name="connsiteY6" fmla="*/ 4259946 h 6858000"/>
              <a:gd name="connsiteX7" fmla="*/ 2267364 w 2836543"/>
              <a:gd name="connsiteY7" fmla="*/ 4219656 h 6858000"/>
              <a:gd name="connsiteX8" fmla="*/ 2272130 w 2836543"/>
              <a:gd name="connsiteY8" fmla="*/ 4248765 h 6858000"/>
              <a:gd name="connsiteX9" fmla="*/ 2273499 w 2836543"/>
              <a:gd name="connsiteY9" fmla="*/ 4259946 h 6858000"/>
              <a:gd name="connsiteX10" fmla="*/ 2267364 w 2836543"/>
              <a:gd name="connsiteY10" fmla="*/ 4219656 h 6858000"/>
              <a:gd name="connsiteX11" fmla="*/ 0 w 2836543"/>
              <a:gd name="connsiteY11" fmla="*/ 0 h 6858000"/>
              <a:gd name="connsiteX12" fmla="*/ 2836543 w 2836543"/>
              <a:gd name="connsiteY12" fmla="*/ 0 h 6858000"/>
              <a:gd name="connsiteX13" fmla="*/ 2836543 w 2836543"/>
              <a:gd name="connsiteY13" fmla="*/ 18530 h 6858000"/>
              <a:gd name="connsiteX14" fmla="*/ 2563971 w 2836543"/>
              <a:gd name="connsiteY14" fmla="*/ 300832 h 6858000"/>
              <a:gd name="connsiteX15" fmla="*/ 2274570 w 2836543"/>
              <a:gd name="connsiteY15" fmla="*/ 637540 h 6858000"/>
              <a:gd name="connsiteX16" fmla="*/ 2010410 w 2836543"/>
              <a:gd name="connsiteY16" fmla="*/ 3011170 h 6858000"/>
              <a:gd name="connsiteX17" fmla="*/ 2138679 w 2836543"/>
              <a:gd name="connsiteY17" fmla="*/ 3515360 h 6858000"/>
              <a:gd name="connsiteX18" fmla="*/ 2141639 w 2836543"/>
              <a:gd name="connsiteY18" fmla="*/ 3505964 h 6858000"/>
              <a:gd name="connsiteX19" fmla="*/ 2212093 w 2836543"/>
              <a:gd name="connsiteY19" fmla="*/ 3856681 h 6858000"/>
              <a:gd name="connsiteX20" fmla="*/ 2267364 w 2836543"/>
              <a:gd name="connsiteY20" fmla="*/ 4219656 h 6858000"/>
              <a:gd name="connsiteX21" fmla="*/ 2212095 w 2836543"/>
              <a:gd name="connsiteY21" fmla="*/ 3882079 h 6858000"/>
              <a:gd name="connsiteX22" fmla="*/ 2138681 w 2836543"/>
              <a:gd name="connsiteY22" fmla="*/ 3516629 h 6858000"/>
              <a:gd name="connsiteX23" fmla="*/ 1898650 w 2836543"/>
              <a:gd name="connsiteY23" fmla="*/ 4781549 h 6858000"/>
              <a:gd name="connsiteX24" fmla="*/ 2161540 w 2836543"/>
              <a:gd name="connsiteY24" fmla="*/ 6713219 h 6858000"/>
              <a:gd name="connsiteX25" fmla="*/ 2211846 w 2836543"/>
              <a:gd name="connsiteY25" fmla="*/ 6858000 h 6858000"/>
              <a:gd name="connsiteX26" fmla="*/ 0 w 2836543"/>
              <a:gd name="connsiteY26" fmla="*/ 6858000 h 6858000"/>
              <a:gd name="connsiteX27" fmla="*/ 0 w 2836543"/>
              <a:gd name="connsiteY27" fmla="*/ 0 h 6858000"/>
              <a:gd name="connsiteX0" fmla="*/ 2273499 w 2836543"/>
              <a:gd name="connsiteY0" fmla="*/ 4259946 h 6858000"/>
              <a:gd name="connsiteX1" fmla="*/ 2309923 w 2836543"/>
              <a:gd name="connsiteY1" fmla="*/ 4499146 h 6858000"/>
              <a:gd name="connsiteX2" fmla="*/ 2495549 w 2836543"/>
              <a:gd name="connsiteY2" fmla="*/ 6445251 h 6858000"/>
              <a:gd name="connsiteX3" fmla="*/ 2495550 w 2836543"/>
              <a:gd name="connsiteY3" fmla="*/ 6470649 h 6858000"/>
              <a:gd name="connsiteX4" fmla="*/ 2362359 w 2836543"/>
              <a:gd name="connsiteY4" fmla="*/ 4985543 h 6858000"/>
              <a:gd name="connsiteX5" fmla="*/ 2273499 w 2836543"/>
              <a:gd name="connsiteY5" fmla="*/ 4259946 h 6858000"/>
              <a:gd name="connsiteX6" fmla="*/ 2267364 w 2836543"/>
              <a:gd name="connsiteY6" fmla="*/ 4219656 h 6858000"/>
              <a:gd name="connsiteX7" fmla="*/ 2272130 w 2836543"/>
              <a:gd name="connsiteY7" fmla="*/ 4248765 h 6858000"/>
              <a:gd name="connsiteX8" fmla="*/ 2273499 w 2836543"/>
              <a:gd name="connsiteY8" fmla="*/ 4259946 h 6858000"/>
              <a:gd name="connsiteX9" fmla="*/ 2267364 w 2836543"/>
              <a:gd name="connsiteY9" fmla="*/ 4219656 h 6858000"/>
              <a:gd name="connsiteX10" fmla="*/ 0 w 2836543"/>
              <a:gd name="connsiteY10" fmla="*/ 0 h 6858000"/>
              <a:gd name="connsiteX11" fmla="*/ 2836543 w 2836543"/>
              <a:gd name="connsiteY11" fmla="*/ 0 h 6858000"/>
              <a:gd name="connsiteX12" fmla="*/ 2836543 w 2836543"/>
              <a:gd name="connsiteY12" fmla="*/ 18530 h 6858000"/>
              <a:gd name="connsiteX13" fmla="*/ 2563971 w 2836543"/>
              <a:gd name="connsiteY13" fmla="*/ 300832 h 6858000"/>
              <a:gd name="connsiteX14" fmla="*/ 2274570 w 2836543"/>
              <a:gd name="connsiteY14" fmla="*/ 637540 h 6858000"/>
              <a:gd name="connsiteX15" fmla="*/ 2010410 w 2836543"/>
              <a:gd name="connsiteY15" fmla="*/ 3011170 h 6858000"/>
              <a:gd name="connsiteX16" fmla="*/ 2138679 w 2836543"/>
              <a:gd name="connsiteY16" fmla="*/ 3515360 h 6858000"/>
              <a:gd name="connsiteX17" fmla="*/ 2141639 w 2836543"/>
              <a:gd name="connsiteY17" fmla="*/ 3505964 h 6858000"/>
              <a:gd name="connsiteX18" fmla="*/ 2212093 w 2836543"/>
              <a:gd name="connsiteY18" fmla="*/ 3856681 h 6858000"/>
              <a:gd name="connsiteX19" fmla="*/ 2267364 w 2836543"/>
              <a:gd name="connsiteY19" fmla="*/ 4219656 h 6858000"/>
              <a:gd name="connsiteX20" fmla="*/ 2212095 w 2836543"/>
              <a:gd name="connsiteY20" fmla="*/ 3882079 h 6858000"/>
              <a:gd name="connsiteX21" fmla="*/ 2138681 w 2836543"/>
              <a:gd name="connsiteY21" fmla="*/ 3516629 h 6858000"/>
              <a:gd name="connsiteX22" fmla="*/ 1898650 w 2836543"/>
              <a:gd name="connsiteY22" fmla="*/ 4781549 h 6858000"/>
              <a:gd name="connsiteX23" fmla="*/ 2161540 w 2836543"/>
              <a:gd name="connsiteY23" fmla="*/ 6713219 h 6858000"/>
              <a:gd name="connsiteX24" fmla="*/ 2211846 w 2836543"/>
              <a:gd name="connsiteY24" fmla="*/ 6858000 h 6858000"/>
              <a:gd name="connsiteX25" fmla="*/ 0 w 2836543"/>
              <a:gd name="connsiteY25" fmla="*/ 6858000 h 6858000"/>
              <a:gd name="connsiteX26" fmla="*/ 0 w 2836543"/>
              <a:gd name="connsiteY26" fmla="*/ 0 h 6858000"/>
              <a:gd name="connsiteX0" fmla="*/ 2273499 w 2836543"/>
              <a:gd name="connsiteY0" fmla="*/ 4259946 h 6858000"/>
              <a:gd name="connsiteX1" fmla="*/ 2309923 w 2836543"/>
              <a:gd name="connsiteY1" fmla="*/ 4499146 h 6858000"/>
              <a:gd name="connsiteX2" fmla="*/ 2495549 w 2836543"/>
              <a:gd name="connsiteY2" fmla="*/ 6445251 h 6858000"/>
              <a:gd name="connsiteX3" fmla="*/ 2362359 w 2836543"/>
              <a:gd name="connsiteY3" fmla="*/ 4985543 h 6858000"/>
              <a:gd name="connsiteX4" fmla="*/ 2273499 w 2836543"/>
              <a:gd name="connsiteY4" fmla="*/ 4259946 h 6858000"/>
              <a:gd name="connsiteX5" fmla="*/ 2267364 w 2836543"/>
              <a:gd name="connsiteY5" fmla="*/ 4219656 h 6858000"/>
              <a:gd name="connsiteX6" fmla="*/ 2272130 w 2836543"/>
              <a:gd name="connsiteY6" fmla="*/ 4248765 h 6858000"/>
              <a:gd name="connsiteX7" fmla="*/ 2273499 w 2836543"/>
              <a:gd name="connsiteY7" fmla="*/ 4259946 h 6858000"/>
              <a:gd name="connsiteX8" fmla="*/ 2267364 w 2836543"/>
              <a:gd name="connsiteY8" fmla="*/ 4219656 h 6858000"/>
              <a:gd name="connsiteX9" fmla="*/ 0 w 2836543"/>
              <a:gd name="connsiteY9" fmla="*/ 0 h 6858000"/>
              <a:gd name="connsiteX10" fmla="*/ 2836543 w 2836543"/>
              <a:gd name="connsiteY10" fmla="*/ 0 h 6858000"/>
              <a:gd name="connsiteX11" fmla="*/ 2836543 w 2836543"/>
              <a:gd name="connsiteY11" fmla="*/ 18530 h 6858000"/>
              <a:gd name="connsiteX12" fmla="*/ 2563971 w 2836543"/>
              <a:gd name="connsiteY12" fmla="*/ 300832 h 6858000"/>
              <a:gd name="connsiteX13" fmla="*/ 2274570 w 2836543"/>
              <a:gd name="connsiteY13" fmla="*/ 637540 h 6858000"/>
              <a:gd name="connsiteX14" fmla="*/ 2010410 w 2836543"/>
              <a:gd name="connsiteY14" fmla="*/ 3011170 h 6858000"/>
              <a:gd name="connsiteX15" fmla="*/ 2138679 w 2836543"/>
              <a:gd name="connsiteY15" fmla="*/ 3515360 h 6858000"/>
              <a:gd name="connsiteX16" fmla="*/ 2141639 w 2836543"/>
              <a:gd name="connsiteY16" fmla="*/ 3505964 h 6858000"/>
              <a:gd name="connsiteX17" fmla="*/ 2212093 w 2836543"/>
              <a:gd name="connsiteY17" fmla="*/ 3856681 h 6858000"/>
              <a:gd name="connsiteX18" fmla="*/ 2267364 w 2836543"/>
              <a:gd name="connsiteY18" fmla="*/ 4219656 h 6858000"/>
              <a:gd name="connsiteX19" fmla="*/ 2212095 w 2836543"/>
              <a:gd name="connsiteY19" fmla="*/ 3882079 h 6858000"/>
              <a:gd name="connsiteX20" fmla="*/ 2138681 w 2836543"/>
              <a:gd name="connsiteY20" fmla="*/ 3516629 h 6858000"/>
              <a:gd name="connsiteX21" fmla="*/ 1898650 w 2836543"/>
              <a:gd name="connsiteY21" fmla="*/ 4781549 h 6858000"/>
              <a:gd name="connsiteX22" fmla="*/ 2161540 w 2836543"/>
              <a:gd name="connsiteY22" fmla="*/ 6713219 h 6858000"/>
              <a:gd name="connsiteX23" fmla="*/ 2211846 w 2836543"/>
              <a:gd name="connsiteY23" fmla="*/ 6858000 h 6858000"/>
              <a:gd name="connsiteX24" fmla="*/ 0 w 2836543"/>
              <a:gd name="connsiteY24" fmla="*/ 6858000 h 6858000"/>
              <a:gd name="connsiteX25" fmla="*/ 0 w 2836543"/>
              <a:gd name="connsiteY25" fmla="*/ 0 h 6858000"/>
              <a:gd name="connsiteX0" fmla="*/ 2273499 w 2836543"/>
              <a:gd name="connsiteY0" fmla="*/ 4259946 h 6858000"/>
              <a:gd name="connsiteX1" fmla="*/ 2309923 w 2836543"/>
              <a:gd name="connsiteY1" fmla="*/ 4499146 h 6858000"/>
              <a:gd name="connsiteX2" fmla="*/ 2362359 w 2836543"/>
              <a:gd name="connsiteY2" fmla="*/ 4985543 h 6858000"/>
              <a:gd name="connsiteX3" fmla="*/ 2273499 w 2836543"/>
              <a:gd name="connsiteY3" fmla="*/ 4259946 h 6858000"/>
              <a:gd name="connsiteX4" fmla="*/ 2267364 w 2836543"/>
              <a:gd name="connsiteY4" fmla="*/ 4219656 h 6858000"/>
              <a:gd name="connsiteX5" fmla="*/ 2272130 w 2836543"/>
              <a:gd name="connsiteY5" fmla="*/ 4248765 h 6858000"/>
              <a:gd name="connsiteX6" fmla="*/ 2273499 w 2836543"/>
              <a:gd name="connsiteY6" fmla="*/ 4259946 h 6858000"/>
              <a:gd name="connsiteX7" fmla="*/ 2267364 w 2836543"/>
              <a:gd name="connsiteY7" fmla="*/ 4219656 h 6858000"/>
              <a:gd name="connsiteX8" fmla="*/ 0 w 2836543"/>
              <a:gd name="connsiteY8" fmla="*/ 0 h 6858000"/>
              <a:gd name="connsiteX9" fmla="*/ 2836543 w 2836543"/>
              <a:gd name="connsiteY9" fmla="*/ 0 h 6858000"/>
              <a:gd name="connsiteX10" fmla="*/ 2836543 w 2836543"/>
              <a:gd name="connsiteY10" fmla="*/ 18530 h 6858000"/>
              <a:gd name="connsiteX11" fmla="*/ 2563971 w 2836543"/>
              <a:gd name="connsiteY11" fmla="*/ 300832 h 6858000"/>
              <a:gd name="connsiteX12" fmla="*/ 2274570 w 2836543"/>
              <a:gd name="connsiteY12" fmla="*/ 637540 h 6858000"/>
              <a:gd name="connsiteX13" fmla="*/ 2010410 w 2836543"/>
              <a:gd name="connsiteY13" fmla="*/ 3011170 h 6858000"/>
              <a:gd name="connsiteX14" fmla="*/ 2138679 w 2836543"/>
              <a:gd name="connsiteY14" fmla="*/ 3515360 h 6858000"/>
              <a:gd name="connsiteX15" fmla="*/ 2141639 w 2836543"/>
              <a:gd name="connsiteY15" fmla="*/ 3505964 h 6858000"/>
              <a:gd name="connsiteX16" fmla="*/ 2212093 w 2836543"/>
              <a:gd name="connsiteY16" fmla="*/ 3856681 h 6858000"/>
              <a:gd name="connsiteX17" fmla="*/ 2267364 w 2836543"/>
              <a:gd name="connsiteY17" fmla="*/ 4219656 h 6858000"/>
              <a:gd name="connsiteX18" fmla="*/ 2212095 w 2836543"/>
              <a:gd name="connsiteY18" fmla="*/ 3882079 h 6858000"/>
              <a:gd name="connsiteX19" fmla="*/ 2138681 w 2836543"/>
              <a:gd name="connsiteY19" fmla="*/ 3516629 h 6858000"/>
              <a:gd name="connsiteX20" fmla="*/ 1898650 w 2836543"/>
              <a:gd name="connsiteY20" fmla="*/ 4781549 h 6858000"/>
              <a:gd name="connsiteX21" fmla="*/ 2161540 w 2836543"/>
              <a:gd name="connsiteY21" fmla="*/ 6713219 h 6858000"/>
              <a:gd name="connsiteX22" fmla="*/ 2211846 w 2836543"/>
              <a:gd name="connsiteY22" fmla="*/ 6858000 h 6858000"/>
              <a:gd name="connsiteX23" fmla="*/ 0 w 2836543"/>
              <a:gd name="connsiteY23" fmla="*/ 6858000 h 6858000"/>
              <a:gd name="connsiteX24" fmla="*/ 0 w 2836543"/>
              <a:gd name="connsiteY24" fmla="*/ 0 h 6858000"/>
              <a:gd name="connsiteX0" fmla="*/ 2273499 w 2836543"/>
              <a:gd name="connsiteY0" fmla="*/ 4259946 h 6858000"/>
              <a:gd name="connsiteX1" fmla="*/ 2309923 w 2836543"/>
              <a:gd name="connsiteY1" fmla="*/ 4499146 h 6858000"/>
              <a:gd name="connsiteX2" fmla="*/ 2273499 w 2836543"/>
              <a:gd name="connsiteY2" fmla="*/ 4259946 h 6858000"/>
              <a:gd name="connsiteX3" fmla="*/ 2267364 w 2836543"/>
              <a:gd name="connsiteY3" fmla="*/ 4219656 h 6858000"/>
              <a:gd name="connsiteX4" fmla="*/ 2272130 w 2836543"/>
              <a:gd name="connsiteY4" fmla="*/ 4248765 h 6858000"/>
              <a:gd name="connsiteX5" fmla="*/ 2273499 w 2836543"/>
              <a:gd name="connsiteY5" fmla="*/ 4259946 h 6858000"/>
              <a:gd name="connsiteX6" fmla="*/ 2267364 w 2836543"/>
              <a:gd name="connsiteY6" fmla="*/ 4219656 h 6858000"/>
              <a:gd name="connsiteX7" fmla="*/ 0 w 2836543"/>
              <a:gd name="connsiteY7" fmla="*/ 0 h 6858000"/>
              <a:gd name="connsiteX8" fmla="*/ 2836543 w 2836543"/>
              <a:gd name="connsiteY8" fmla="*/ 0 h 6858000"/>
              <a:gd name="connsiteX9" fmla="*/ 2836543 w 2836543"/>
              <a:gd name="connsiteY9" fmla="*/ 18530 h 6858000"/>
              <a:gd name="connsiteX10" fmla="*/ 2563971 w 2836543"/>
              <a:gd name="connsiteY10" fmla="*/ 300832 h 6858000"/>
              <a:gd name="connsiteX11" fmla="*/ 2274570 w 2836543"/>
              <a:gd name="connsiteY11" fmla="*/ 637540 h 6858000"/>
              <a:gd name="connsiteX12" fmla="*/ 2010410 w 2836543"/>
              <a:gd name="connsiteY12" fmla="*/ 3011170 h 6858000"/>
              <a:gd name="connsiteX13" fmla="*/ 2138679 w 2836543"/>
              <a:gd name="connsiteY13" fmla="*/ 3515360 h 6858000"/>
              <a:gd name="connsiteX14" fmla="*/ 2141639 w 2836543"/>
              <a:gd name="connsiteY14" fmla="*/ 3505964 h 6858000"/>
              <a:gd name="connsiteX15" fmla="*/ 2212093 w 2836543"/>
              <a:gd name="connsiteY15" fmla="*/ 3856681 h 6858000"/>
              <a:gd name="connsiteX16" fmla="*/ 2267364 w 2836543"/>
              <a:gd name="connsiteY16" fmla="*/ 4219656 h 6858000"/>
              <a:gd name="connsiteX17" fmla="*/ 2212095 w 2836543"/>
              <a:gd name="connsiteY17" fmla="*/ 3882079 h 6858000"/>
              <a:gd name="connsiteX18" fmla="*/ 2138681 w 2836543"/>
              <a:gd name="connsiteY18" fmla="*/ 3516629 h 6858000"/>
              <a:gd name="connsiteX19" fmla="*/ 1898650 w 2836543"/>
              <a:gd name="connsiteY19" fmla="*/ 4781549 h 6858000"/>
              <a:gd name="connsiteX20" fmla="*/ 2161540 w 2836543"/>
              <a:gd name="connsiteY20" fmla="*/ 6713219 h 6858000"/>
              <a:gd name="connsiteX21" fmla="*/ 2211846 w 2836543"/>
              <a:gd name="connsiteY21" fmla="*/ 6858000 h 6858000"/>
              <a:gd name="connsiteX22" fmla="*/ 0 w 2836543"/>
              <a:gd name="connsiteY22" fmla="*/ 6858000 h 6858000"/>
              <a:gd name="connsiteX23" fmla="*/ 0 w 2836543"/>
              <a:gd name="connsiteY23" fmla="*/ 0 h 6858000"/>
              <a:gd name="connsiteX0" fmla="*/ 2267364 w 2836543"/>
              <a:gd name="connsiteY0" fmla="*/ 4219656 h 6858000"/>
              <a:gd name="connsiteX1" fmla="*/ 2272130 w 2836543"/>
              <a:gd name="connsiteY1" fmla="*/ 4248765 h 6858000"/>
              <a:gd name="connsiteX2" fmla="*/ 2273499 w 2836543"/>
              <a:gd name="connsiteY2" fmla="*/ 4259946 h 6858000"/>
              <a:gd name="connsiteX3" fmla="*/ 2267364 w 2836543"/>
              <a:gd name="connsiteY3" fmla="*/ 4219656 h 6858000"/>
              <a:gd name="connsiteX4" fmla="*/ 0 w 2836543"/>
              <a:gd name="connsiteY4" fmla="*/ 0 h 6858000"/>
              <a:gd name="connsiteX5" fmla="*/ 2836543 w 2836543"/>
              <a:gd name="connsiteY5" fmla="*/ 0 h 6858000"/>
              <a:gd name="connsiteX6" fmla="*/ 2836543 w 2836543"/>
              <a:gd name="connsiteY6" fmla="*/ 18530 h 6858000"/>
              <a:gd name="connsiteX7" fmla="*/ 2563971 w 2836543"/>
              <a:gd name="connsiteY7" fmla="*/ 300832 h 6858000"/>
              <a:gd name="connsiteX8" fmla="*/ 2274570 w 2836543"/>
              <a:gd name="connsiteY8" fmla="*/ 637540 h 6858000"/>
              <a:gd name="connsiteX9" fmla="*/ 2010410 w 2836543"/>
              <a:gd name="connsiteY9" fmla="*/ 3011170 h 6858000"/>
              <a:gd name="connsiteX10" fmla="*/ 2138679 w 2836543"/>
              <a:gd name="connsiteY10" fmla="*/ 3515360 h 6858000"/>
              <a:gd name="connsiteX11" fmla="*/ 2141639 w 2836543"/>
              <a:gd name="connsiteY11" fmla="*/ 3505964 h 6858000"/>
              <a:gd name="connsiteX12" fmla="*/ 2212093 w 2836543"/>
              <a:gd name="connsiteY12" fmla="*/ 3856681 h 6858000"/>
              <a:gd name="connsiteX13" fmla="*/ 2267364 w 2836543"/>
              <a:gd name="connsiteY13" fmla="*/ 4219656 h 6858000"/>
              <a:gd name="connsiteX14" fmla="*/ 2212095 w 2836543"/>
              <a:gd name="connsiteY14" fmla="*/ 3882079 h 6858000"/>
              <a:gd name="connsiteX15" fmla="*/ 2138681 w 2836543"/>
              <a:gd name="connsiteY15" fmla="*/ 3516629 h 6858000"/>
              <a:gd name="connsiteX16" fmla="*/ 1898650 w 2836543"/>
              <a:gd name="connsiteY16" fmla="*/ 4781549 h 6858000"/>
              <a:gd name="connsiteX17" fmla="*/ 2161540 w 2836543"/>
              <a:gd name="connsiteY17" fmla="*/ 6713219 h 6858000"/>
              <a:gd name="connsiteX18" fmla="*/ 2211846 w 2836543"/>
              <a:gd name="connsiteY18" fmla="*/ 6858000 h 6858000"/>
              <a:gd name="connsiteX19" fmla="*/ 0 w 2836543"/>
              <a:gd name="connsiteY19" fmla="*/ 6858000 h 6858000"/>
              <a:gd name="connsiteX20" fmla="*/ 0 w 2836543"/>
              <a:gd name="connsiteY20" fmla="*/ 0 h 6858000"/>
              <a:gd name="connsiteX0" fmla="*/ 2267364 w 2836543"/>
              <a:gd name="connsiteY0" fmla="*/ 4219656 h 6858000"/>
              <a:gd name="connsiteX1" fmla="*/ 2272130 w 2836543"/>
              <a:gd name="connsiteY1" fmla="*/ 4248765 h 6858000"/>
              <a:gd name="connsiteX2" fmla="*/ 2273499 w 2836543"/>
              <a:gd name="connsiteY2" fmla="*/ 4259946 h 6858000"/>
              <a:gd name="connsiteX3" fmla="*/ 2267364 w 2836543"/>
              <a:gd name="connsiteY3" fmla="*/ 4219656 h 6858000"/>
              <a:gd name="connsiteX4" fmla="*/ 0 w 2836543"/>
              <a:gd name="connsiteY4" fmla="*/ 0 h 6858000"/>
              <a:gd name="connsiteX5" fmla="*/ 2836543 w 2836543"/>
              <a:gd name="connsiteY5" fmla="*/ 0 h 6858000"/>
              <a:gd name="connsiteX6" fmla="*/ 2836543 w 2836543"/>
              <a:gd name="connsiteY6" fmla="*/ 18530 h 6858000"/>
              <a:gd name="connsiteX7" fmla="*/ 2563971 w 2836543"/>
              <a:gd name="connsiteY7" fmla="*/ 300832 h 6858000"/>
              <a:gd name="connsiteX8" fmla="*/ 2274570 w 2836543"/>
              <a:gd name="connsiteY8" fmla="*/ 637540 h 6858000"/>
              <a:gd name="connsiteX9" fmla="*/ 2010410 w 2836543"/>
              <a:gd name="connsiteY9" fmla="*/ 3011170 h 6858000"/>
              <a:gd name="connsiteX10" fmla="*/ 2138679 w 2836543"/>
              <a:gd name="connsiteY10" fmla="*/ 3515360 h 6858000"/>
              <a:gd name="connsiteX11" fmla="*/ 2141639 w 2836543"/>
              <a:gd name="connsiteY11" fmla="*/ 3505964 h 6858000"/>
              <a:gd name="connsiteX12" fmla="*/ 2212093 w 2836543"/>
              <a:gd name="connsiteY12" fmla="*/ 3856681 h 6858000"/>
              <a:gd name="connsiteX13" fmla="*/ 2212095 w 2836543"/>
              <a:gd name="connsiteY13" fmla="*/ 3882079 h 6858000"/>
              <a:gd name="connsiteX14" fmla="*/ 2138681 w 2836543"/>
              <a:gd name="connsiteY14" fmla="*/ 3516629 h 6858000"/>
              <a:gd name="connsiteX15" fmla="*/ 1898650 w 2836543"/>
              <a:gd name="connsiteY15" fmla="*/ 4781549 h 6858000"/>
              <a:gd name="connsiteX16" fmla="*/ 2161540 w 2836543"/>
              <a:gd name="connsiteY16" fmla="*/ 6713219 h 6858000"/>
              <a:gd name="connsiteX17" fmla="*/ 2211846 w 2836543"/>
              <a:gd name="connsiteY17" fmla="*/ 6858000 h 6858000"/>
              <a:gd name="connsiteX18" fmla="*/ 0 w 2836543"/>
              <a:gd name="connsiteY18" fmla="*/ 6858000 h 6858000"/>
              <a:gd name="connsiteX19" fmla="*/ 0 w 2836543"/>
              <a:gd name="connsiteY19" fmla="*/ 0 h 6858000"/>
              <a:gd name="connsiteX0" fmla="*/ 2273499 w 2836543"/>
              <a:gd name="connsiteY0" fmla="*/ 4259946 h 6858000"/>
              <a:gd name="connsiteX1" fmla="*/ 2272130 w 2836543"/>
              <a:gd name="connsiteY1" fmla="*/ 4248765 h 6858000"/>
              <a:gd name="connsiteX2" fmla="*/ 2273499 w 2836543"/>
              <a:gd name="connsiteY2" fmla="*/ 4259946 h 6858000"/>
              <a:gd name="connsiteX3" fmla="*/ 0 w 2836543"/>
              <a:gd name="connsiteY3" fmla="*/ 0 h 6858000"/>
              <a:gd name="connsiteX4" fmla="*/ 2836543 w 2836543"/>
              <a:gd name="connsiteY4" fmla="*/ 0 h 6858000"/>
              <a:gd name="connsiteX5" fmla="*/ 2836543 w 2836543"/>
              <a:gd name="connsiteY5" fmla="*/ 18530 h 6858000"/>
              <a:gd name="connsiteX6" fmla="*/ 2563971 w 2836543"/>
              <a:gd name="connsiteY6" fmla="*/ 300832 h 6858000"/>
              <a:gd name="connsiteX7" fmla="*/ 2274570 w 2836543"/>
              <a:gd name="connsiteY7" fmla="*/ 637540 h 6858000"/>
              <a:gd name="connsiteX8" fmla="*/ 2010410 w 2836543"/>
              <a:gd name="connsiteY8" fmla="*/ 3011170 h 6858000"/>
              <a:gd name="connsiteX9" fmla="*/ 2138679 w 2836543"/>
              <a:gd name="connsiteY9" fmla="*/ 3515360 h 6858000"/>
              <a:gd name="connsiteX10" fmla="*/ 2141639 w 2836543"/>
              <a:gd name="connsiteY10" fmla="*/ 3505964 h 6858000"/>
              <a:gd name="connsiteX11" fmla="*/ 2212093 w 2836543"/>
              <a:gd name="connsiteY11" fmla="*/ 3856681 h 6858000"/>
              <a:gd name="connsiteX12" fmla="*/ 2212095 w 2836543"/>
              <a:gd name="connsiteY12" fmla="*/ 3882079 h 6858000"/>
              <a:gd name="connsiteX13" fmla="*/ 2138681 w 2836543"/>
              <a:gd name="connsiteY13" fmla="*/ 3516629 h 6858000"/>
              <a:gd name="connsiteX14" fmla="*/ 1898650 w 2836543"/>
              <a:gd name="connsiteY14" fmla="*/ 4781549 h 6858000"/>
              <a:gd name="connsiteX15" fmla="*/ 2161540 w 2836543"/>
              <a:gd name="connsiteY15" fmla="*/ 6713219 h 6858000"/>
              <a:gd name="connsiteX16" fmla="*/ 2211846 w 2836543"/>
              <a:gd name="connsiteY16" fmla="*/ 6858000 h 6858000"/>
              <a:gd name="connsiteX17" fmla="*/ 0 w 2836543"/>
              <a:gd name="connsiteY17" fmla="*/ 6858000 h 6858000"/>
              <a:gd name="connsiteX18" fmla="*/ 0 w 2836543"/>
              <a:gd name="connsiteY18" fmla="*/ 0 h 6858000"/>
              <a:gd name="connsiteX0" fmla="*/ 0 w 2836543"/>
              <a:gd name="connsiteY0" fmla="*/ 0 h 6858000"/>
              <a:gd name="connsiteX1" fmla="*/ 2836543 w 2836543"/>
              <a:gd name="connsiteY1" fmla="*/ 0 h 6858000"/>
              <a:gd name="connsiteX2" fmla="*/ 2836543 w 2836543"/>
              <a:gd name="connsiteY2" fmla="*/ 18530 h 6858000"/>
              <a:gd name="connsiteX3" fmla="*/ 2563971 w 2836543"/>
              <a:gd name="connsiteY3" fmla="*/ 300832 h 6858000"/>
              <a:gd name="connsiteX4" fmla="*/ 2274570 w 2836543"/>
              <a:gd name="connsiteY4" fmla="*/ 637540 h 6858000"/>
              <a:gd name="connsiteX5" fmla="*/ 2010410 w 2836543"/>
              <a:gd name="connsiteY5" fmla="*/ 3011170 h 6858000"/>
              <a:gd name="connsiteX6" fmla="*/ 2138679 w 2836543"/>
              <a:gd name="connsiteY6" fmla="*/ 3515360 h 6858000"/>
              <a:gd name="connsiteX7" fmla="*/ 2141639 w 2836543"/>
              <a:gd name="connsiteY7" fmla="*/ 3505964 h 6858000"/>
              <a:gd name="connsiteX8" fmla="*/ 2212093 w 2836543"/>
              <a:gd name="connsiteY8" fmla="*/ 3856681 h 6858000"/>
              <a:gd name="connsiteX9" fmla="*/ 2212095 w 2836543"/>
              <a:gd name="connsiteY9" fmla="*/ 3882079 h 6858000"/>
              <a:gd name="connsiteX10" fmla="*/ 2138681 w 2836543"/>
              <a:gd name="connsiteY10" fmla="*/ 3516629 h 6858000"/>
              <a:gd name="connsiteX11" fmla="*/ 1898650 w 2836543"/>
              <a:gd name="connsiteY11" fmla="*/ 4781549 h 6858000"/>
              <a:gd name="connsiteX12" fmla="*/ 2161540 w 2836543"/>
              <a:gd name="connsiteY12" fmla="*/ 6713219 h 6858000"/>
              <a:gd name="connsiteX13" fmla="*/ 2211846 w 2836543"/>
              <a:gd name="connsiteY13" fmla="*/ 6858000 h 6858000"/>
              <a:gd name="connsiteX14" fmla="*/ 0 w 2836543"/>
              <a:gd name="connsiteY14" fmla="*/ 6858000 h 6858000"/>
              <a:gd name="connsiteX15" fmla="*/ 0 w 2836543"/>
              <a:gd name="connsiteY15" fmla="*/ 0 h 6858000"/>
              <a:gd name="connsiteX0" fmla="*/ 0 w 2836543"/>
              <a:gd name="connsiteY0" fmla="*/ 0 h 6858000"/>
              <a:gd name="connsiteX1" fmla="*/ 2836543 w 2836543"/>
              <a:gd name="connsiteY1" fmla="*/ 0 h 6858000"/>
              <a:gd name="connsiteX2" fmla="*/ 2836543 w 2836543"/>
              <a:gd name="connsiteY2" fmla="*/ 18530 h 6858000"/>
              <a:gd name="connsiteX3" fmla="*/ 2563971 w 2836543"/>
              <a:gd name="connsiteY3" fmla="*/ 300832 h 6858000"/>
              <a:gd name="connsiteX4" fmla="*/ 2274570 w 2836543"/>
              <a:gd name="connsiteY4" fmla="*/ 637540 h 6858000"/>
              <a:gd name="connsiteX5" fmla="*/ 2010410 w 2836543"/>
              <a:gd name="connsiteY5" fmla="*/ 3011170 h 6858000"/>
              <a:gd name="connsiteX6" fmla="*/ 2138679 w 2836543"/>
              <a:gd name="connsiteY6" fmla="*/ 3515360 h 6858000"/>
              <a:gd name="connsiteX7" fmla="*/ 2141639 w 2836543"/>
              <a:gd name="connsiteY7" fmla="*/ 3505964 h 6858000"/>
              <a:gd name="connsiteX8" fmla="*/ 2212093 w 2836543"/>
              <a:gd name="connsiteY8" fmla="*/ 3856681 h 6858000"/>
              <a:gd name="connsiteX9" fmla="*/ 2138681 w 2836543"/>
              <a:gd name="connsiteY9" fmla="*/ 3516629 h 6858000"/>
              <a:gd name="connsiteX10" fmla="*/ 1898650 w 2836543"/>
              <a:gd name="connsiteY10" fmla="*/ 4781549 h 6858000"/>
              <a:gd name="connsiteX11" fmla="*/ 2161540 w 2836543"/>
              <a:gd name="connsiteY11" fmla="*/ 6713219 h 6858000"/>
              <a:gd name="connsiteX12" fmla="*/ 2211846 w 2836543"/>
              <a:gd name="connsiteY12" fmla="*/ 6858000 h 6858000"/>
              <a:gd name="connsiteX13" fmla="*/ 0 w 2836543"/>
              <a:gd name="connsiteY13" fmla="*/ 6858000 h 6858000"/>
              <a:gd name="connsiteX14" fmla="*/ 0 w 2836543"/>
              <a:gd name="connsiteY14" fmla="*/ 0 h 6858000"/>
              <a:gd name="connsiteX0" fmla="*/ 0 w 2836543"/>
              <a:gd name="connsiteY0" fmla="*/ 0 h 6858000"/>
              <a:gd name="connsiteX1" fmla="*/ 2836543 w 2836543"/>
              <a:gd name="connsiteY1" fmla="*/ 0 h 6858000"/>
              <a:gd name="connsiteX2" fmla="*/ 2836543 w 2836543"/>
              <a:gd name="connsiteY2" fmla="*/ 18530 h 6858000"/>
              <a:gd name="connsiteX3" fmla="*/ 2563971 w 2836543"/>
              <a:gd name="connsiteY3" fmla="*/ 300832 h 6858000"/>
              <a:gd name="connsiteX4" fmla="*/ 2274570 w 2836543"/>
              <a:gd name="connsiteY4" fmla="*/ 637540 h 6858000"/>
              <a:gd name="connsiteX5" fmla="*/ 2010410 w 2836543"/>
              <a:gd name="connsiteY5" fmla="*/ 3011170 h 6858000"/>
              <a:gd name="connsiteX6" fmla="*/ 2138679 w 2836543"/>
              <a:gd name="connsiteY6" fmla="*/ 3515360 h 6858000"/>
              <a:gd name="connsiteX7" fmla="*/ 2141639 w 2836543"/>
              <a:gd name="connsiteY7" fmla="*/ 3505964 h 6858000"/>
              <a:gd name="connsiteX8" fmla="*/ 2138681 w 2836543"/>
              <a:gd name="connsiteY8" fmla="*/ 3516629 h 6858000"/>
              <a:gd name="connsiteX9" fmla="*/ 1898650 w 2836543"/>
              <a:gd name="connsiteY9" fmla="*/ 4781549 h 6858000"/>
              <a:gd name="connsiteX10" fmla="*/ 2161540 w 2836543"/>
              <a:gd name="connsiteY10" fmla="*/ 6713219 h 6858000"/>
              <a:gd name="connsiteX11" fmla="*/ 2211846 w 2836543"/>
              <a:gd name="connsiteY11" fmla="*/ 6858000 h 6858000"/>
              <a:gd name="connsiteX12" fmla="*/ 0 w 2836543"/>
              <a:gd name="connsiteY12" fmla="*/ 6858000 h 6858000"/>
              <a:gd name="connsiteX13" fmla="*/ 0 w 2836543"/>
              <a:gd name="connsiteY13" fmla="*/ 0 h 6858000"/>
              <a:gd name="connsiteX0" fmla="*/ 0 w 2836543"/>
              <a:gd name="connsiteY0" fmla="*/ 0 h 6858000"/>
              <a:gd name="connsiteX1" fmla="*/ 2769393 w 2836543"/>
              <a:gd name="connsiteY1" fmla="*/ 0 h 6858000"/>
              <a:gd name="connsiteX2" fmla="*/ 2836543 w 2836543"/>
              <a:gd name="connsiteY2" fmla="*/ 0 h 6858000"/>
              <a:gd name="connsiteX3" fmla="*/ 2836543 w 2836543"/>
              <a:gd name="connsiteY3" fmla="*/ 18530 h 6858000"/>
              <a:gd name="connsiteX4" fmla="*/ 2563971 w 2836543"/>
              <a:gd name="connsiteY4" fmla="*/ 300832 h 6858000"/>
              <a:gd name="connsiteX5" fmla="*/ 2274570 w 2836543"/>
              <a:gd name="connsiteY5" fmla="*/ 637540 h 6858000"/>
              <a:gd name="connsiteX6" fmla="*/ 2010410 w 2836543"/>
              <a:gd name="connsiteY6" fmla="*/ 3011170 h 6858000"/>
              <a:gd name="connsiteX7" fmla="*/ 2138679 w 2836543"/>
              <a:gd name="connsiteY7" fmla="*/ 3515360 h 6858000"/>
              <a:gd name="connsiteX8" fmla="*/ 2141639 w 2836543"/>
              <a:gd name="connsiteY8" fmla="*/ 3505964 h 6858000"/>
              <a:gd name="connsiteX9" fmla="*/ 2138681 w 2836543"/>
              <a:gd name="connsiteY9" fmla="*/ 3516629 h 6858000"/>
              <a:gd name="connsiteX10" fmla="*/ 1898650 w 2836543"/>
              <a:gd name="connsiteY10" fmla="*/ 4781549 h 6858000"/>
              <a:gd name="connsiteX11" fmla="*/ 2161540 w 2836543"/>
              <a:gd name="connsiteY11" fmla="*/ 6713219 h 6858000"/>
              <a:gd name="connsiteX12" fmla="*/ 2211846 w 2836543"/>
              <a:gd name="connsiteY12" fmla="*/ 6858000 h 6858000"/>
              <a:gd name="connsiteX13" fmla="*/ 0 w 2836543"/>
              <a:gd name="connsiteY13" fmla="*/ 6858000 h 6858000"/>
              <a:gd name="connsiteX14" fmla="*/ 0 w 2836543"/>
              <a:gd name="connsiteY14" fmla="*/ 0 h 6858000"/>
              <a:gd name="connsiteX0" fmla="*/ 0 w 2850830"/>
              <a:gd name="connsiteY0" fmla="*/ 7144 h 6865144"/>
              <a:gd name="connsiteX1" fmla="*/ 2769393 w 2850830"/>
              <a:gd name="connsiteY1" fmla="*/ 7144 h 6865144"/>
              <a:gd name="connsiteX2" fmla="*/ 2850830 w 2850830"/>
              <a:gd name="connsiteY2" fmla="*/ 0 h 6865144"/>
              <a:gd name="connsiteX3" fmla="*/ 2836543 w 2850830"/>
              <a:gd name="connsiteY3" fmla="*/ 25674 h 6865144"/>
              <a:gd name="connsiteX4" fmla="*/ 2563971 w 2850830"/>
              <a:gd name="connsiteY4" fmla="*/ 307976 h 6865144"/>
              <a:gd name="connsiteX5" fmla="*/ 2274570 w 2850830"/>
              <a:gd name="connsiteY5" fmla="*/ 644684 h 6865144"/>
              <a:gd name="connsiteX6" fmla="*/ 2010410 w 2850830"/>
              <a:gd name="connsiteY6" fmla="*/ 3018314 h 6865144"/>
              <a:gd name="connsiteX7" fmla="*/ 2138679 w 2850830"/>
              <a:gd name="connsiteY7" fmla="*/ 3522504 h 6865144"/>
              <a:gd name="connsiteX8" fmla="*/ 2141639 w 2850830"/>
              <a:gd name="connsiteY8" fmla="*/ 3513108 h 6865144"/>
              <a:gd name="connsiteX9" fmla="*/ 2138681 w 2850830"/>
              <a:gd name="connsiteY9" fmla="*/ 3523773 h 6865144"/>
              <a:gd name="connsiteX10" fmla="*/ 1898650 w 2850830"/>
              <a:gd name="connsiteY10" fmla="*/ 4788693 h 6865144"/>
              <a:gd name="connsiteX11" fmla="*/ 2161540 w 2850830"/>
              <a:gd name="connsiteY11" fmla="*/ 6720363 h 6865144"/>
              <a:gd name="connsiteX12" fmla="*/ 2211846 w 2850830"/>
              <a:gd name="connsiteY12" fmla="*/ 6865144 h 6865144"/>
              <a:gd name="connsiteX13" fmla="*/ 0 w 2850830"/>
              <a:gd name="connsiteY13" fmla="*/ 6865144 h 6865144"/>
              <a:gd name="connsiteX14" fmla="*/ 0 w 2850830"/>
              <a:gd name="connsiteY14" fmla="*/ 7144 h 6865144"/>
              <a:gd name="connsiteX0" fmla="*/ 0 w 2848449"/>
              <a:gd name="connsiteY0" fmla="*/ 4763 h 6862763"/>
              <a:gd name="connsiteX1" fmla="*/ 2769393 w 2848449"/>
              <a:gd name="connsiteY1" fmla="*/ 4763 h 6862763"/>
              <a:gd name="connsiteX2" fmla="*/ 2848449 w 2848449"/>
              <a:gd name="connsiteY2" fmla="*/ 0 h 6862763"/>
              <a:gd name="connsiteX3" fmla="*/ 2836543 w 2848449"/>
              <a:gd name="connsiteY3" fmla="*/ 23293 h 6862763"/>
              <a:gd name="connsiteX4" fmla="*/ 2563971 w 2848449"/>
              <a:gd name="connsiteY4" fmla="*/ 305595 h 6862763"/>
              <a:gd name="connsiteX5" fmla="*/ 2274570 w 2848449"/>
              <a:gd name="connsiteY5" fmla="*/ 642303 h 6862763"/>
              <a:gd name="connsiteX6" fmla="*/ 2010410 w 2848449"/>
              <a:gd name="connsiteY6" fmla="*/ 3015933 h 6862763"/>
              <a:gd name="connsiteX7" fmla="*/ 2138679 w 2848449"/>
              <a:gd name="connsiteY7" fmla="*/ 3520123 h 6862763"/>
              <a:gd name="connsiteX8" fmla="*/ 2141639 w 2848449"/>
              <a:gd name="connsiteY8" fmla="*/ 3510727 h 6862763"/>
              <a:gd name="connsiteX9" fmla="*/ 2138681 w 2848449"/>
              <a:gd name="connsiteY9" fmla="*/ 3521392 h 6862763"/>
              <a:gd name="connsiteX10" fmla="*/ 1898650 w 2848449"/>
              <a:gd name="connsiteY10" fmla="*/ 4786312 h 6862763"/>
              <a:gd name="connsiteX11" fmla="*/ 2161540 w 2848449"/>
              <a:gd name="connsiteY11" fmla="*/ 6717982 h 6862763"/>
              <a:gd name="connsiteX12" fmla="*/ 2211846 w 2848449"/>
              <a:gd name="connsiteY12" fmla="*/ 6862763 h 6862763"/>
              <a:gd name="connsiteX13" fmla="*/ 0 w 2848449"/>
              <a:gd name="connsiteY13" fmla="*/ 6862763 h 6862763"/>
              <a:gd name="connsiteX14" fmla="*/ 0 w 2848449"/>
              <a:gd name="connsiteY14" fmla="*/ 4763 h 6862763"/>
              <a:gd name="connsiteX0" fmla="*/ 0 w 2855592"/>
              <a:gd name="connsiteY0" fmla="*/ 2382 h 6860382"/>
              <a:gd name="connsiteX1" fmla="*/ 2769393 w 2855592"/>
              <a:gd name="connsiteY1" fmla="*/ 2382 h 6860382"/>
              <a:gd name="connsiteX2" fmla="*/ 2855592 w 2855592"/>
              <a:gd name="connsiteY2" fmla="*/ 0 h 6860382"/>
              <a:gd name="connsiteX3" fmla="*/ 2836543 w 2855592"/>
              <a:gd name="connsiteY3" fmla="*/ 20912 h 6860382"/>
              <a:gd name="connsiteX4" fmla="*/ 2563971 w 2855592"/>
              <a:gd name="connsiteY4" fmla="*/ 303214 h 6860382"/>
              <a:gd name="connsiteX5" fmla="*/ 2274570 w 2855592"/>
              <a:gd name="connsiteY5" fmla="*/ 639922 h 6860382"/>
              <a:gd name="connsiteX6" fmla="*/ 2010410 w 2855592"/>
              <a:gd name="connsiteY6" fmla="*/ 3013552 h 6860382"/>
              <a:gd name="connsiteX7" fmla="*/ 2138679 w 2855592"/>
              <a:gd name="connsiteY7" fmla="*/ 3517742 h 6860382"/>
              <a:gd name="connsiteX8" fmla="*/ 2141639 w 2855592"/>
              <a:gd name="connsiteY8" fmla="*/ 3508346 h 6860382"/>
              <a:gd name="connsiteX9" fmla="*/ 2138681 w 2855592"/>
              <a:gd name="connsiteY9" fmla="*/ 3519011 h 6860382"/>
              <a:gd name="connsiteX10" fmla="*/ 1898650 w 2855592"/>
              <a:gd name="connsiteY10" fmla="*/ 4783931 h 6860382"/>
              <a:gd name="connsiteX11" fmla="*/ 2161540 w 2855592"/>
              <a:gd name="connsiteY11" fmla="*/ 6715601 h 6860382"/>
              <a:gd name="connsiteX12" fmla="*/ 2211846 w 2855592"/>
              <a:gd name="connsiteY12" fmla="*/ 6860382 h 6860382"/>
              <a:gd name="connsiteX13" fmla="*/ 0 w 2855592"/>
              <a:gd name="connsiteY13" fmla="*/ 6860382 h 6860382"/>
              <a:gd name="connsiteX14" fmla="*/ 0 w 2855592"/>
              <a:gd name="connsiteY14" fmla="*/ 2382 h 6860382"/>
              <a:gd name="connsiteX0" fmla="*/ 0 w 2855592"/>
              <a:gd name="connsiteY0" fmla="*/ 2382 h 6860382"/>
              <a:gd name="connsiteX1" fmla="*/ 2769393 w 2855592"/>
              <a:gd name="connsiteY1" fmla="*/ 2382 h 6860382"/>
              <a:gd name="connsiteX2" fmla="*/ 2855592 w 2855592"/>
              <a:gd name="connsiteY2" fmla="*/ 0 h 6860382"/>
              <a:gd name="connsiteX3" fmla="*/ 2563971 w 2855592"/>
              <a:gd name="connsiteY3" fmla="*/ 303214 h 6860382"/>
              <a:gd name="connsiteX4" fmla="*/ 2274570 w 2855592"/>
              <a:gd name="connsiteY4" fmla="*/ 639922 h 6860382"/>
              <a:gd name="connsiteX5" fmla="*/ 2010410 w 2855592"/>
              <a:gd name="connsiteY5" fmla="*/ 3013552 h 6860382"/>
              <a:gd name="connsiteX6" fmla="*/ 2138679 w 2855592"/>
              <a:gd name="connsiteY6" fmla="*/ 3517742 h 6860382"/>
              <a:gd name="connsiteX7" fmla="*/ 2141639 w 2855592"/>
              <a:gd name="connsiteY7" fmla="*/ 3508346 h 6860382"/>
              <a:gd name="connsiteX8" fmla="*/ 2138681 w 2855592"/>
              <a:gd name="connsiteY8" fmla="*/ 3519011 h 6860382"/>
              <a:gd name="connsiteX9" fmla="*/ 1898650 w 2855592"/>
              <a:gd name="connsiteY9" fmla="*/ 4783931 h 6860382"/>
              <a:gd name="connsiteX10" fmla="*/ 2161540 w 2855592"/>
              <a:gd name="connsiteY10" fmla="*/ 6715601 h 6860382"/>
              <a:gd name="connsiteX11" fmla="*/ 2211846 w 2855592"/>
              <a:gd name="connsiteY11" fmla="*/ 6860382 h 6860382"/>
              <a:gd name="connsiteX12" fmla="*/ 0 w 2855592"/>
              <a:gd name="connsiteY12" fmla="*/ 6860382 h 6860382"/>
              <a:gd name="connsiteX13" fmla="*/ 0 w 2855592"/>
              <a:gd name="connsiteY13" fmla="*/ 2382 h 6860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55592" h="6860382">
                <a:moveTo>
                  <a:pt x="0" y="2382"/>
                </a:moveTo>
                <a:lnTo>
                  <a:pt x="2769393" y="2382"/>
                </a:lnTo>
                <a:lnTo>
                  <a:pt x="2855592" y="0"/>
                </a:lnTo>
                <a:lnTo>
                  <a:pt x="2563971" y="303214"/>
                </a:lnTo>
                <a:cubicBezTo>
                  <a:pt x="2463483" y="412910"/>
                  <a:pt x="2366645" y="524987"/>
                  <a:pt x="2274570" y="639922"/>
                </a:cubicBezTo>
                <a:cubicBezTo>
                  <a:pt x="1767839" y="1274922"/>
                  <a:pt x="1794510" y="2270602"/>
                  <a:pt x="2010410" y="3013552"/>
                </a:cubicBezTo>
                <a:cubicBezTo>
                  <a:pt x="2058670" y="3181192"/>
                  <a:pt x="2101850" y="3348832"/>
                  <a:pt x="2138679" y="3517742"/>
                </a:cubicBezTo>
                <a:lnTo>
                  <a:pt x="2141639" y="3508346"/>
                </a:lnTo>
                <a:lnTo>
                  <a:pt x="2138681" y="3519011"/>
                </a:lnTo>
                <a:cubicBezTo>
                  <a:pt x="2015490" y="3929221"/>
                  <a:pt x="1920241" y="4345781"/>
                  <a:pt x="1898650" y="4783931"/>
                </a:cubicBezTo>
                <a:cubicBezTo>
                  <a:pt x="1866900" y="5434171"/>
                  <a:pt x="1963421" y="6094571"/>
                  <a:pt x="2161540" y="6715601"/>
                </a:cubicBezTo>
                <a:lnTo>
                  <a:pt x="2211846" y="6860382"/>
                </a:lnTo>
                <a:lnTo>
                  <a:pt x="0" y="6860382"/>
                </a:lnTo>
                <a:lnTo>
                  <a:pt x="0" y="2382"/>
                </a:lnTo>
                <a:close/>
              </a:path>
            </a:pathLst>
          </a:custGeom>
          <a:solidFill>
            <a:schemeClr val="bg1">
              <a:lumMod val="85000"/>
            </a:schemeClr>
          </a:solidFill>
        </p:spPr>
        <p:txBody>
          <a:bodyPr wrap="square" tIns="360000" rIns="648000">
            <a:noAutofit/>
          </a:bodyPr>
          <a:lstStyle>
            <a:lvl1pPr algn="ctr">
              <a:defRPr sz="1400"/>
            </a:lvl1pPr>
          </a:lstStyle>
          <a:p>
            <a:r>
              <a:rPr lang="nl-NL" noProof="0" dirty="0"/>
              <a:t>Invoegen beeld</a:t>
            </a:r>
          </a:p>
        </p:txBody>
      </p:sp>
      <p:pic>
        <p:nvPicPr>
          <p:cNvPr id="38" name="Picture 37">
            <a:extLst>
              <a:ext uri="{FF2B5EF4-FFF2-40B4-BE49-F238E27FC236}">
                <a16:creationId xmlns:a16="http://schemas.microsoft.com/office/drawing/2014/main" id="{FF815E67-F009-496C-90D6-65EF40CB9F6B}"/>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762" y="0"/>
            <a:ext cx="12190476" cy="6857143"/>
          </a:xfrm>
          <a:prstGeom prst="rect">
            <a:avLst/>
          </a:prstGeom>
        </p:spPr>
      </p:pic>
      <p:pic>
        <p:nvPicPr>
          <p:cNvPr id="54" name="Picture 53">
            <a:extLst>
              <a:ext uri="{FF2B5EF4-FFF2-40B4-BE49-F238E27FC236}">
                <a16:creationId xmlns:a16="http://schemas.microsoft.com/office/drawing/2014/main" id="{7A5A943F-53B1-492B-AF8D-63413E98381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048534" y="5707099"/>
            <a:ext cx="698421" cy="699880"/>
          </a:xfrm>
          <a:prstGeom prst="rect">
            <a:avLst/>
          </a:prstGeom>
        </p:spPr>
      </p:pic>
      <p:sp>
        <p:nvSpPr>
          <p:cNvPr id="57" name="Content Placeholder 2">
            <a:extLst>
              <a:ext uri="{FF2B5EF4-FFF2-40B4-BE49-F238E27FC236}">
                <a16:creationId xmlns:a16="http://schemas.microsoft.com/office/drawing/2014/main" id="{6930A970-1EAD-498D-AC40-960A1599F652}"/>
              </a:ext>
            </a:extLst>
          </p:cNvPr>
          <p:cNvSpPr>
            <a:spLocks noGrp="1"/>
          </p:cNvSpPr>
          <p:nvPr>
            <p:ph idx="1"/>
          </p:nvPr>
        </p:nvSpPr>
        <p:spPr>
          <a:xfrm>
            <a:off x="3879542" y="1800000"/>
            <a:ext cx="7574521" cy="2802980"/>
          </a:xfrm>
        </p:spPr>
        <p:txBody>
          <a:bodyPr wrap="square">
            <a:noAutofit/>
          </a:bodyPr>
          <a:lstStyle/>
          <a:p>
            <a:pPr lvl="0"/>
            <a:r>
              <a:rPr lang="nl-NL" noProof="0" dirty="0"/>
              <a:t>Click </a:t>
            </a:r>
            <a:r>
              <a:rPr lang="nl-NL" noProof="0" dirty="0" err="1"/>
              <a:t>to</a:t>
            </a:r>
            <a:r>
              <a:rPr lang="nl-NL" noProof="0" dirty="0"/>
              <a:t> </a:t>
            </a:r>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a:p>
            <a:pPr lvl="1"/>
            <a:r>
              <a:rPr lang="nl-NL" noProof="0" dirty="0"/>
              <a:t>Second level</a:t>
            </a:r>
          </a:p>
          <a:p>
            <a:pPr lvl="2"/>
            <a:r>
              <a:rPr lang="nl-NL" noProof="0" dirty="0" err="1"/>
              <a:t>Third</a:t>
            </a:r>
            <a:r>
              <a:rPr lang="nl-NL" noProof="0" dirty="0"/>
              <a:t> level</a:t>
            </a:r>
          </a:p>
          <a:p>
            <a:pPr lvl="3"/>
            <a:r>
              <a:rPr lang="nl-NL" noProof="0" dirty="0" err="1"/>
              <a:t>Fourth</a:t>
            </a:r>
            <a:r>
              <a:rPr lang="nl-NL" noProof="0" dirty="0"/>
              <a:t> level</a:t>
            </a:r>
          </a:p>
          <a:p>
            <a:pPr lvl="4"/>
            <a:r>
              <a:rPr lang="nl-NL" noProof="0" dirty="0" err="1"/>
              <a:t>Fifth</a:t>
            </a:r>
            <a:r>
              <a:rPr lang="nl-NL" noProof="0" dirty="0"/>
              <a:t> level</a:t>
            </a:r>
          </a:p>
        </p:txBody>
      </p:sp>
      <p:sp>
        <p:nvSpPr>
          <p:cNvPr id="12" name="Title 5">
            <a:extLst>
              <a:ext uri="{FF2B5EF4-FFF2-40B4-BE49-F238E27FC236}">
                <a16:creationId xmlns:a16="http://schemas.microsoft.com/office/drawing/2014/main" id="{DCB9CE9B-D5E9-4A6A-9972-1E8381205FF7}"/>
              </a:ext>
            </a:extLst>
          </p:cNvPr>
          <p:cNvSpPr>
            <a:spLocks noGrp="1"/>
          </p:cNvSpPr>
          <p:nvPr>
            <p:ph type="title"/>
          </p:nvPr>
        </p:nvSpPr>
        <p:spPr>
          <a:xfrm>
            <a:off x="3877070" y="803199"/>
            <a:ext cx="7574521" cy="443198"/>
          </a:xfrm>
        </p:spPr>
        <p:txBody>
          <a:bodyPr vert="horz" wrap="square" anchor="b">
            <a:spAutoFit/>
          </a:bodyPr>
          <a:lstStyle/>
          <a:p>
            <a:r>
              <a:rPr lang="en-US" dirty="0"/>
              <a:t>Click to edit Master title style</a:t>
            </a:r>
            <a:endParaRPr lang="en-GB" dirty="0"/>
          </a:p>
        </p:txBody>
      </p:sp>
      <p:sp>
        <p:nvSpPr>
          <p:cNvPr id="15" name="Slide Number Placeholder 5">
            <a:extLst>
              <a:ext uri="{FF2B5EF4-FFF2-40B4-BE49-F238E27FC236}">
                <a16:creationId xmlns:a16="http://schemas.microsoft.com/office/drawing/2014/main" id="{267580F1-337D-4FD7-83C2-C47184A87411}"/>
              </a:ext>
            </a:extLst>
          </p:cNvPr>
          <p:cNvSpPr>
            <a:spLocks noGrp="1"/>
          </p:cNvSpPr>
          <p:nvPr>
            <p:ph type="sldNum" sz="quarter" idx="4"/>
          </p:nvPr>
        </p:nvSpPr>
        <p:spPr>
          <a:xfrm>
            <a:off x="361178" y="6246000"/>
            <a:ext cx="398364" cy="153888"/>
          </a:xfrm>
          <a:prstGeom prst="rect">
            <a:avLst/>
          </a:prstGeom>
        </p:spPr>
        <p:txBody>
          <a:bodyPr vert="horz" wrap="square" lIns="0" tIns="0" rIns="0" bIns="0" rtlCol="0" anchor="ctr">
            <a:spAutoFit/>
          </a:bodyPr>
          <a:lstStyle>
            <a:lvl1pPr algn="l">
              <a:defRPr sz="1000">
                <a:solidFill>
                  <a:schemeClr val="bg1"/>
                </a:solidFill>
              </a:defRPr>
            </a:lvl1pPr>
          </a:lstStyle>
          <a:p>
            <a:fld id="{01ED78C3-3A94-496B-9AE8-73034C580365}" type="slidenum">
              <a:rPr lang="en-US" smtClean="0"/>
              <a:pPr/>
              <a:t>‹#›</a:t>
            </a:fld>
            <a:endParaRPr lang="en-US"/>
          </a:p>
        </p:txBody>
      </p:sp>
    </p:spTree>
    <p:extLst>
      <p:ext uri="{BB962C8B-B14F-4D97-AF65-F5344CB8AC3E}">
        <p14:creationId xmlns:p14="http://schemas.microsoft.com/office/powerpoint/2010/main" val="30826478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 - beeld II">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0ED13-85AF-48A2-B969-4D6B3D0E2E20}"/>
              </a:ext>
            </a:extLst>
          </p:cNvPr>
          <p:cNvGraphicFramePr>
            <a:graphicFrameLocks noChangeAspect="1"/>
          </p:cNvGraphicFramePr>
          <p:nvPr userDrawn="1">
            <p:custDataLst>
              <p:tags r:id="rId1"/>
            </p:custDataLst>
            <p:extLst>
              <p:ext uri="{D42A27DB-BD31-4B8C-83A1-F6EECF244321}">
                <p14:modId xmlns:p14="http://schemas.microsoft.com/office/powerpoint/2010/main" val="2903709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9" imgH="429" progId="TCLayout.ActiveDocument.1">
                  <p:embed/>
                </p:oleObj>
              </mc:Choice>
              <mc:Fallback>
                <p:oleObj name="think-cell Slide" r:id="rId3" imgW="429" imgH="429" progId="TCLayout.ActiveDocument.1">
                  <p:embed/>
                  <p:pic>
                    <p:nvPicPr>
                      <p:cNvPr id="4" name="Object 3" hidden="1">
                        <a:extLst>
                          <a:ext uri="{FF2B5EF4-FFF2-40B4-BE49-F238E27FC236}">
                            <a16:creationId xmlns:a16="http://schemas.microsoft.com/office/drawing/2014/main" id="{07A0ED13-85AF-48A2-B969-4D6B3D0E2E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5">
            <a:extLst>
              <a:ext uri="{FF2B5EF4-FFF2-40B4-BE49-F238E27FC236}">
                <a16:creationId xmlns:a16="http://schemas.microsoft.com/office/drawing/2014/main" id="{EA4FD79A-ED4B-4B56-8C2F-07791D8B360D}"/>
              </a:ext>
            </a:extLst>
          </p:cNvPr>
          <p:cNvSpPr>
            <a:spLocks noGrp="1"/>
          </p:cNvSpPr>
          <p:nvPr>
            <p:ph type="pic" sz="quarter" idx="10" hasCustomPrompt="1"/>
          </p:nvPr>
        </p:nvSpPr>
        <p:spPr>
          <a:xfrm>
            <a:off x="0" y="-2381"/>
            <a:ext cx="4699348" cy="6860382"/>
          </a:xfrm>
          <a:custGeom>
            <a:avLst/>
            <a:gdLst>
              <a:gd name="connsiteX0" fmla="*/ 4699348 w 4699348"/>
              <a:gd name="connsiteY0" fmla="*/ 0 h 6860382"/>
              <a:gd name="connsiteX1" fmla="*/ 4407727 w 4699348"/>
              <a:gd name="connsiteY1" fmla="*/ 303214 h 6860382"/>
              <a:gd name="connsiteX2" fmla="*/ 4118326 w 4699348"/>
              <a:gd name="connsiteY2" fmla="*/ 639922 h 6860382"/>
              <a:gd name="connsiteX3" fmla="*/ 3854166 w 4699348"/>
              <a:gd name="connsiteY3" fmla="*/ 3013552 h 6860382"/>
              <a:gd name="connsiteX4" fmla="*/ 3982435 w 4699348"/>
              <a:gd name="connsiteY4" fmla="*/ 3517742 h 6860382"/>
              <a:gd name="connsiteX5" fmla="*/ 3985395 w 4699348"/>
              <a:gd name="connsiteY5" fmla="*/ 3508346 h 6860382"/>
              <a:gd name="connsiteX6" fmla="*/ 3982437 w 4699348"/>
              <a:gd name="connsiteY6" fmla="*/ 3519011 h 6860382"/>
              <a:gd name="connsiteX7" fmla="*/ 3742406 w 4699348"/>
              <a:gd name="connsiteY7" fmla="*/ 4783931 h 6860382"/>
              <a:gd name="connsiteX8" fmla="*/ 4005296 w 4699348"/>
              <a:gd name="connsiteY8" fmla="*/ 6715601 h 6860382"/>
              <a:gd name="connsiteX9" fmla="*/ 4055602 w 4699348"/>
              <a:gd name="connsiteY9" fmla="*/ 6860382 h 6860382"/>
              <a:gd name="connsiteX10" fmla="*/ 1843756 w 4699348"/>
              <a:gd name="connsiteY10" fmla="*/ 6860382 h 6860382"/>
              <a:gd name="connsiteX11" fmla="*/ 1843756 w 4699348"/>
              <a:gd name="connsiteY11" fmla="*/ 6860381 h 6860382"/>
              <a:gd name="connsiteX12" fmla="*/ 0 w 4699348"/>
              <a:gd name="connsiteY12" fmla="*/ 6860381 h 6860382"/>
              <a:gd name="connsiteX13" fmla="*/ 0 w 4699348"/>
              <a:gd name="connsiteY13" fmla="*/ 793 h 6860382"/>
              <a:gd name="connsiteX14" fmla="*/ 2455863 w 4699348"/>
              <a:gd name="connsiteY14" fmla="*/ 793 h 6860382"/>
              <a:gd name="connsiteX15" fmla="*/ 2455863 w 4699348"/>
              <a:gd name="connsiteY15" fmla="*/ 2382 h 6860382"/>
              <a:gd name="connsiteX16" fmla="*/ 4613149 w 4699348"/>
              <a:gd name="connsiteY16" fmla="*/ 2382 h 6860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99348" h="6860382">
                <a:moveTo>
                  <a:pt x="4699348" y="0"/>
                </a:moveTo>
                <a:lnTo>
                  <a:pt x="4407727" y="303214"/>
                </a:lnTo>
                <a:cubicBezTo>
                  <a:pt x="4307239" y="412910"/>
                  <a:pt x="4210401" y="524987"/>
                  <a:pt x="4118326" y="639922"/>
                </a:cubicBezTo>
                <a:cubicBezTo>
                  <a:pt x="3611595" y="1274922"/>
                  <a:pt x="3638266" y="2270602"/>
                  <a:pt x="3854166" y="3013552"/>
                </a:cubicBezTo>
                <a:cubicBezTo>
                  <a:pt x="3902426" y="3181192"/>
                  <a:pt x="3945606" y="3348832"/>
                  <a:pt x="3982435" y="3517742"/>
                </a:cubicBezTo>
                <a:lnTo>
                  <a:pt x="3985395" y="3508346"/>
                </a:lnTo>
                <a:lnTo>
                  <a:pt x="3982437" y="3519011"/>
                </a:lnTo>
                <a:cubicBezTo>
                  <a:pt x="3859246" y="3929221"/>
                  <a:pt x="3763997" y="4345781"/>
                  <a:pt x="3742406" y="4783931"/>
                </a:cubicBezTo>
                <a:cubicBezTo>
                  <a:pt x="3710656" y="5434171"/>
                  <a:pt x="3807177" y="6094571"/>
                  <a:pt x="4005296" y="6715601"/>
                </a:cubicBezTo>
                <a:lnTo>
                  <a:pt x="4055602" y="6860382"/>
                </a:lnTo>
                <a:lnTo>
                  <a:pt x="1843756" y="6860382"/>
                </a:lnTo>
                <a:lnTo>
                  <a:pt x="1843756" y="6860381"/>
                </a:lnTo>
                <a:lnTo>
                  <a:pt x="0" y="6860381"/>
                </a:lnTo>
                <a:lnTo>
                  <a:pt x="0" y="793"/>
                </a:lnTo>
                <a:lnTo>
                  <a:pt x="2455863" y="793"/>
                </a:lnTo>
                <a:lnTo>
                  <a:pt x="2455863" y="2382"/>
                </a:lnTo>
                <a:lnTo>
                  <a:pt x="4613149" y="2382"/>
                </a:lnTo>
                <a:close/>
              </a:path>
            </a:pathLst>
          </a:custGeom>
          <a:solidFill>
            <a:schemeClr val="bg1">
              <a:lumMod val="85000"/>
            </a:schemeClr>
          </a:solidFill>
        </p:spPr>
        <p:txBody>
          <a:bodyPr wrap="square" tIns="360000" rIns="648000">
            <a:noAutofit/>
          </a:bodyPr>
          <a:lstStyle>
            <a:lvl1pPr algn="ctr">
              <a:defRPr sz="1400"/>
            </a:lvl1pPr>
          </a:lstStyle>
          <a:p>
            <a:r>
              <a:rPr lang="nl-NL" noProof="0" dirty="0"/>
              <a:t>Invoegen beeld</a:t>
            </a:r>
          </a:p>
        </p:txBody>
      </p:sp>
      <p:pic>
        <p:nvPicPr>
          <p:cNvPr id="38" name="Picture 37">
            <a:extLst>
              <a:ext uri="{FF2B5EF4-FFF2-40B4-BE49-F238E27FC236}">
                <a16:creationId xmlns:a16="http://schemas.microsoft.com/office/drawing/2014/main" id="{FF815E67-F009-496C-90D6-65EF40CB9F6B}"/>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15119"/>
          <a:stretch/>
        </p:blipFill>
        <p:spPr>
          <a:xfrm>
            <a:off x="1844516" y="0"/>
            <a:ext cx="10347484" cy="6857143"/>
          </a:xfrm>
          <a:prstGeom prst="rect">
            <a:avLst/>
          </a:prstGeom>
        </p:spPr>
      </p:pic>
      <p:pic>
        <p:nvPicPr>
          <p:cNvPr id="54" name="Picture 53">
            <a:extLst>
              <a:ext uri="{FF2B5EF4-FFF2-40B4-BE49-F238E27FC236}">
                <a16:creationId xmlns:a16="http://schemas.microsoft.com/office/drawing/2014/main" id="{7A5A943F-53B1-492B-AF8D-63413E98381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048534" y="5707099"/>
            <a:ext cx="698421" cy="699880"/>
          </a:xfrm>
          <a:prstGeom prst="rect">
            <a:avLst/>
          </a:prstGeom>
        </p:spPr>
      </p:pic>
      <p:sp>
        <p:nvSpPr>
          <p:cNvPr id="57" name="Content Placeholder 2">
            <a:extLst>
              <a:ext uri="{FF2B5EF4-FFF2-40B4-BE49-F238E27FC236}">
                <a16:creationId xmlns:a16="http://schemas.microsoft.com/office/drawing/2014/main" id="{6930A970-1EAD-498D-AC40-960A1599F652}"/>
              </a:ext>
            </a:extLst>
          </p:cNvPr>
          <p:cNvSpPr>
            <a:spLocks noGrp="1"/>
          </p:cNvSpPr>
          <p:nvPr>
            <p:ph idx="1"/>
          </p:nvPr>
        </p:nvSpPr>
        <p:spPr>
          <a:xfrm>
            <a:off x="5678905" y="1800000"/>
            <a:ext cx="5775158" cy="2802980"/>
          </a:xfrm>
        </p:spPr>
        <p:txBody>
          <a:bodyPr wrap="square">
            <a:noAutofit/>
          </a:bodyPr>
          <a:lstStyle/>
          <a:p>
            <a:pPr lvl="0"/>
            <a:r>
              <a:rPr lang="nl-NL" noProof="0" dirty="0"/>
              <a:t>Click </a:t>
            </a:r>
            <a:r>
              <a:rPr lang="nl-NL" noProof="0" dirty="0" err="1"/>
              <a:t>to</a:t>
            </a:r>
            <a:r>
              <a:rPr lang="nl-NL" noProof="0" dirty="0"/>
              <a:t> </a:t>
            </a:r>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a:p>
            <a:pPr lvl="1"/>
            <a:r>
              <a:rPr lang="nl-NL" noProof="0" dirty="0"/>
              <a:t>Second level</a:t>
            </a:r>
          </a:p>
          <a:p>
            <a:pPr lvl="2"/>
            <a:r>
              <a:rPr lang="nl-NL" noProof="0" dirty="0" err="1"/>
              <a:t>Third</a:t>
            </a:r>
            <a:r>
              <a:rPr lang="nl-NL" noProof="0" dirty="0"/>
              <a:t> level</a:t>
            </a:r>
          </a:p>
          <a:p>
            <a:pPr lvl="3"/>
            <a:r>
              <a:rPr lang="nl-NL" noProof="0" dirty="0" err="1"/>
              <a:t>Fourth</a:t>
            </a:r>
            <a:r>
              <a:rPr lang="nl-NL" noProof="0" dirty="0"/>
              <a:t> level</a:t>
            </a:r>
          </a:p>
          <a:p>
            <a:pPr lvl="4"/>
            <a:r>
              <a:rPr lang="nl-NL" noProof="0" dirty="0" err="1"/>
              <a:t>Fifth</a:t>
            </a:r>
            <a:r>
              <a:rPr lang="nl-NL" noProof="0" dirty="0"/>
              <a:t> level</a:t>
            </a:r>
          </a:p>
        </p:txBody>
      </p:sp>
      <p:sp>
        <p:nvSpPr>
          <p:cNvPr id="58" name="Title 5">
            <a:extLst>
              <a:ext uri="{FF2B5EF4-FFF2-40B4-BE49-F238E27FC236}">
                <a16:creationId xmlns:a16="http://schemas.microsoft.com/office/drawing/2014/main" id="{9D451E85-7FF4-4B34-A553-C6947AEC800A}"/>
              </a:ext>
            </a:extLst>
          </p:cNvPr>
          <p:cNvSpPr>
            <a:spLocks noGrp="1"/>
          </p:cNvSpPr>
          <p:nvPr>
            <p:ph type="title"/>
          </p:nvPr>
        </p:nvSpPr>
        <p:spPr>
          <a:xfrm>
            <a:off x="5671339" y="360000"/>
            <a:ext cx="5780252" cy="886397"/>
          </a:xfrm>
        </p:spPr>
        <p:txBody>
          <a:bodyPr vert="horz" anchor="b">
            <a:spAutoFit/>
          </a:bodyPr>
          <a:lstStyle/>
          <a:p>
            <a:r>
              <a:rPr lang="en-US" dirty="0"/>
              <a:t>Click to edit Master title style</a:t>
            </a:r>
            <a:endParaRPr lang="en-GB" dirty="0"/>
          </a:p>
        </p:txBody>
      </p:sp>
      <p:sp>
        <p:nvSpPr>
          <p:cNvPr id="11" name="Slide Number Placeholder 5">
            <a:extLst>
              <a:ext uri="{FF2B5EF4-FFF2-40B4-BE49-F238E27FC236}">
                <a16:creationId xmlns:a16="http://schemas.microsoft.com/office/drawing/2014/main" id="{95C62C56-E7DE-4AEB-8D79-37B9C6806792}"/>
              </a:ext>
            </a:extLst>
          </p:cNvPr>
          <p:cNvSpPr>
            <a:spLocks noGrp="1"/>
          </p:cNvSpPr>
          <p:nvPr>
            <p:ph type="sldNum" sz="quarter" idx="4"/>
          </p:nvPr>
        </p:nvSpPr>
        <p:spPr>
          <a:xfrm>
            <a:off x="361178" y="6246000"/>
            <a:ext cx="398364" cy="153888"/>
          </a:xfrm>
          <a:prstGeom prst="rect">
            <a:avLst/>
          </a:prstGeom>
        </p:spPr>
        <p:txBody>
          <a:bodyPr vert="horz" wrap="square" lIns="0" tIns="0" rIns="0" bIns="0" rtlCol="0" anchor="ctr">
            <a:spAutoFit/>
          </a:bodyPr>
          <a:lstStyle>
            <a:lvl1pPr algn="l">
              <a:defRPr sz="1000">
                <a:solidFill>
                  <a:schemeClr val="bg1"/>
                </a:solidFill>
              </a:defRPr>
            </a:lvl1pPr>
          </a:lstStyle>
          <a:p>
            <a:fld id="{01ED78C3-3A94-496B-9AE8-73034C580365}" type="slidenum">
              <a:rPr lang="en-US" smtClean="0"/>
              <a:pPr/>
              <a:t>‹#›</a:t>
            </a:fld>
            <a:endParaRPr lang="en-US"/>
          </a:p>
        </p:txBody>
      </p:sp>
    </p:spTree>
    <p:extLst>
      <p:ext uri="{BB962C8B-B14F-4D97-AF65-F5344CB8AC3E}">
        <p14:creationId xmlns:p14="http://schemas.microsoft.com/office/powerpoint/2010/main" val="2213127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 beeld III">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0ED13-85AF-48A2-B969-4D6B3D0E2E20}"/>
              </a:ext>
            </a:extLst>
          </p:cNvPr>
          <p:cNvGraphicFramePr>
            <a:graphicFrameLocks noChangeAspect="1"/>
          </p:cNvGraphicFramePr>
          <p:nvPr userDrawn="1">
            <p:custDataLst>
              <p:tags r:id="rId1"/>
            </p:custDataLst>
            <p:extLst>
              <p:ext uri="{D42A27DB-BD31-4B8C-83A1-F6EECF244321}">
                <p14:modId xmlns:p14="http://schemas.microsoft.com/office/powerpoint/2010/main" val="4011045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9" imgH="429" progId="TCLayout.ActiveDocument.1">
                  <p:embed/>
                </p:oleObj>
              </mc:Choice>
              <mc:Fallback>
                <p:oleObj name="think-cell Slide" r:id="rId3" imgW="429" imgH="429" progId="TCLayout.ActiveDocument.1">
                  <p:embed/>
                  <p:pic>
                    <p:nvPicPr>
                      <p:cNvPr id="4" name="Object 3" hidden="1">
                        <a:extLst>
                          <a:ext uri="{FF2B5EF4-FFF2-40B4-BE49-F238E27FC236}">
                            <a16:creationId xmlns:a16="http://schemas.microsoft.com/office/drawing/2014/main" id="{07A0ED13-85AF-48A2-B969-4D6B3D0E2E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BEB73B63-E386-4C50-B214-7A025ABA805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0" y="54591"/>
            <a:ext cx="12190476" cy="6857143"/>
          </a:xfrm>
          <a:prstGeom prst="rect">
            <a:avLst/>
          </a:prstGeom>
        </p:spPr>
      </p:pic>
      <p:pic>
        <p:nvPicPr>
          <p:cNvPr id="71" name="Picture 70">
            <a:extLst>
              <a:ext uri="{FF2B5EF4-FFF2-40B4-BE49-F238E27FC236}">
                <a16:creationId xmlns:a16="http://schemas.microsoft.com/office/drawing/2014/main" id="{32581C25-40EC-4107-966B-E6B509801DA8}"/>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046022" y="5707099"/>
            <a:ext cx="698421" cy="699880"/>
          </a:xfrm>
          <a:prstGeom prst="rect">
            <a:avLst/>
          </a:prstGeom>
        </p:spPr>
      </p:pic>
      <p:sp>
        <p:nvSpPr>
          <p:cNvPr id="63" name="Picture Placeholder 62">
            <a:extLst>
              <a:ext uri="{FF2B5EF4-FFF2-40B4-BE49-F238E27FC236}">
                <a16:creationId xmlns:a16="http://schemas.microsoft.com/office/drawing/2014/main" id="{63FAB533-0C3C-47A6-B9DE-7D73111D65B8}"/>
              </a:ext>
            </a:extLst>
          </p:cNvPr>
          <p:cNvSpPr>
            <a:spLocks noGrp="1"/>
          </p:cNvSpPr>
          <p:nvPr>
            <p:ph type="pic" sz="quarter" idx="10" hasCustomPrompt="1"/>
          </p:nvPr>
        </p:nvSpPr>
        <p:spPr>
          <a:xfrm>
            <a:off x="639352" y="1795960"/>
            <a:ext cx="10841240" cy="5062041"/>
          </a:xfrm>
          <a:custGeom>
            <a:avLst/>
            <a:gdLst>
              <a:gd name="connsiteX0" fmla="*/ 10841163 w 10841240"/>
              <a:gd name="connsiteY0" fmla="*/ 3492237 h 5062041"/>
              <a:gd name="connsiteX1" fmla="*/ 10831288 w 10841240"/>
              <a:gd name="connsiteY1" fmla="*/ 3534231 h 5062041"/>
              <a:gd name="connsiteX2" fmla="*/ 10833211 w 10841240"/>
              <a:gd name="connsiteY2" fmla="*/ 3524644 h 5062041"/>
              <a:gd name="connsiteX3" fmla="*/ 10831287 w 10841240"/>
              <a:gd name="connsiteY3" fmla="*/ 3534231 h 5062041"/>
              <a:gd name="connsiteX4" fmla="*/ 10830626 w 10841240"/>
              <a:gd name="connsiteY4" fmla="*/ 3531882 h 5062041"/>
              <a:gd name="connsiteX5" fmla="*/ 10837162 w 10841240"/>
              <a:gd name="connsiteY5" fmla="*/ 3506586 h 5062041"/>
              <a:gd name="connsiteX6" fmla="*/ 10841163 w 10841240"/>
              <a:gd name="connsiteY6" fmla="*/ 3492237 h 5062041"/>
              <a:gd name="connsiteX7" fmla="*/ 0 w 10841240"/>
              <a:gd name="connsiteY7" fmla="*/ 0 h 5062041"/>
              <a:gd name="connsiteX8" fmla="*/ 10818180 w 10841240"/>
              <a:gd name="connsiteY8" fmla="*/ 0 h 5062041"/>
              <a:gd name="connsiteX9" fmla="*/ 10708554 w 10841240"/>
              <a:gd name="connsiteY9" fmla="*/ 401837 h 5062041"/>
              <a:gd name="connsiteX10" fmla="*/ 10554427 w 10841240"/>
              <a:gd name="connsiteY10" fmla="*/ 2080082 h 5062041"/>
              <a:gd name="connsiteX11" fmla="*/ 10731413 w 10841240"/>
              <a:gd name="connsiteY11" fmla="*/ 3179148 h 5062041"/>
              <a:gd name="connsiteX12" fmla="*/ 10830626 w 10841240"/>
              <a:gd name="connsiteY12" fmla="*/ 3531882 h 5062041"/>
              <a:gd name="connsiteX13" fmla="*/ 10830019 w 10841240"/>
              <a:gd name="connsiteY13" fmla="*/ 3534232 h 5062041"/>
              <a:gd name="connsiteX14" fmla="*/ 10733029 w 10841240"/>
              <a:gd name="connsiteY14" fmla="*/ 3915501 h 5062041"/>
              <a:gd name="connsiteX15" fmla="*/ 10724277 w 10841240"/>
              <a:gd name="connsiteY15" fmla="*/ 3914545 h 5062041"/>
              <a:gd name="connsiteX16" fmla="*/ 10678644 w 10841240"/>
              <a:gd name="connsiteY16" fmla="*/ 3912620 h 5062041"/>
              <a:gd name="connsiteX17" fmla="*/ 10646447 w 10841240"/>
              <a:gd name="connsiteY17" fmla="*/ 3913659 h 5062041"/>
              <a:gd name="connsiteX18" fmla="*/ 10595444 w 10841240"/>
              <a:gd name="connsiteY18" fmla="*/ 3924946 h 5062041"/>
              <a:gd name="connsiteX19" fmla="*/ 10551150 w 10841240"/>
              <a:gd name="connsiteY19" fmla="*/ 3957364 h 5062041"/>
              <a:gd name="connsiteX20" fmla="*/ 10488785 w 10841240"/>
              <a:gd name="connsiteY20" fmla="*/ 4033765 h 5062041"/>
              <a:gd name="connsiteX21" fmla="*/ 10446028 w 10841240"/>
              <a:gd name="connsiteY21" fmla="*/ 4095424 h 5062041"/>
              <a:gd name="connsiteX22" fmla="*/ 10411001 w 10841240"/>
              <a:gd name="connsiteY22" fmla="*/ 4217538 h 5062041"/>
              <a:gd name="connsiteX23" fmla="*/ 10413656 w 10841240"/>
              <a:gd name="connsiteY23" fmla="*/ 4289229 h 5062041"/>
              <a:gd name="connsiteX24" fmla="*/ 10457020 w 10841240"/>
              <a:gd name="connsiteY24" fmla="*/ 4372442 h 5062041"/>
              <a:gd name="connsiteX25" fmla="*/ 10505413 w 10841240"/>
              <a:gd name="connsiteY25" fmla="*/ 4453971 h 5062041"/>
              <a:gd name="connsiteX26" fmla="*/ 10582030 w 10841240"/>
              <a:gd name="connsiteY26" fmla="*/ 4553601 h 5062041"/>
              <a:gd name="connsiteX27" fmla="*/ 10582737 w 10841240"/>
              <a:gd name="connsiteY27" fmla="*/ 4554004 h 5062041"/>
              <a:gd name="connsiteX28" fmla="*/ 10543157 w 10841240"/>
              <a:gd name="connsiteY28" fmla="*/ 4797148 h 5062041"/>
              <a:gd name="connsiteX29" fmla="*/ 10523089 w 10841240"/>
              <a:gd name="connsiteY29" fmla="*/ 5062041 h 5062041"/>
              <a:gd name="connsiteX30" fmla="*/ 493145 w 10841240"/>
              <a:gd name="connsiteY30" fmla="*/ 5062041 h 5062041"/>
              <a:gd name="connsiteX31" fmla="*/ 347440 w 10841240"/>
              <a:gd name="connsiteY31" fmla="*/ 4489271 h 5062041"/>
              <a:gd name="connsiteX32" fmla="*/ 346169 w 10841240"/>
              <a:gd name="connsiteY32" fmla="*/ 4489272 h 5062041"/>
              <a:gd name="connsiteX33" fmla="*/ 623030 w 10841240"/>
              <a:gd name="connsiteY33" fmla="*/ 3035123 h 5062041"/>
              <a:gd name="connsiteX34" fmla="*/ 320769 w 10841240"/>
              <a:gd name="connsiteY34" fmla="*/ 813894 h 5062041"/>
              <a:gd name="connsiteX35" fmla="*/ 39941 w 10841240"/>
              <a:gd name="connsiteY35" fmla="*/ 81898 h 506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841240" h="5062041">
                <a:moveTo>
                  <a:pt x="10841163" y="3492237"/>
                </a:moveTo>
                <a:cubicBezTo>
                  <a:pt x="10840217" y="3497278"/>
                  <a:pt x="10830955" y="3535230"/>
                  <a:pt x="10831288" y="3534231"/>
                </a:cubicBezTo>
                <a:lnTo>
                  <a:pt x="10833211" y="3524644"/>
                </a:lnTo>
                <a:lnTo>
                  <a:pt x="10831287" y="3534231"/>
                </a:lnTo>
                <a:lnTo>
                  <a:pt x="10830626" y="3531882"/>
                </a:lnTo>
                <a:lnTo>
                  <a:pt x="10837162" y="3506586"/>
                </a:lnTo>
                <a:cubicBezTo>
                  <a:pt x="10840590" y="3493471"/>
                  <a:pt x="10841542" y="3490221"/>
                  <a:pt x="10841163" y="3492237"/>
                </a:cubicBezTo>
                <a:close/>
                <a:moveTo>
                  <a:pt x="0" y="0"/>
                </a:moveTo>
                <a:lnTo>
                  <a:pt x="10818180" y="0"/>
                </a:lnTo>
                <a:lnTo>
                  <a:pt x="10708554" y="401837"/>
                </a:lnTo>
                <a:cubicBezTo>
                  <a:pt x="10583241" y="951608"/>
                  <a:pt x="10527757" y="1519060"/>
                  <a:pt x="10554427" y="2080082"/>
                </a:cubicBezTo>
                <a:cubicBezTo>
                  <a:pt x="10572524" y="2458226"/>
                  <a:pt x="10639199" y="2822080"/>
                  <a:pt x="10731413" y="3179148"/>
                </a:cubicBezTo>
                <a:lnTo>
                  <a:pt x="10830626" y="3531882"/>
                </a:lnTo>
                <a:lnTo>
                  <a:pt x="10830019" y="3534232"/>
                </a:lnTo>
                <a:lnTo>
                  <a:pt x="10733029" y="3915501"/>
                </a:lnTo>
                <a:lnTo>
                  <a:pt x="10724277" y="3914545"/>
                </a:lnTo>
                <a:cubicBezTo>
                  <a:pt x="10705099" y="3913067"/>
                  <a:pt x="10690752" y="3912597"/>
                  <a:pt x="10678644" y="3912620"/>
                </a:cubicBezTo>
                <a:cubicBezTo>
                  <a:pt x="10666536" y="3912644"/>
                  <a:pt x="10656667" y="3913161"/>
                  <a:pt x="10646447" y="3913659"/>
                </a:cubicBezTo>
                <a:cubicBezTo>
                  <a:pt x="10626008" y="3914654"/>
                  <a:pt x="10611917" y="3918253"/>
                  <a:pt x="10595444" y="3924946"/>
                </a:cubicBezTo>
                <a:cubicBezTo>
                  <a:pt x="10578320" y="3937229"/>
                  <a:pt x="10564735" y="3941535"/>
                  <a:pt x="10551150" y="3957364"/>
                </a:cubicBezTo>
                <a:lnTo>
                  <a:pt x="10488785" y="4033765"/>
                </a:lnTo>
                <a:lnTo>
                  <a:pt x="10446028" y="4095424"/>
                </a:lnTo>
                <a:lnTo>
                  <a:pt x="10411001" y="4217538"/>
                </a:lnTo>
                <a:cubicBezTo>
                  <a:pt x="10406281" y="4241730"/>
                  <a:pt x="10412181" y="4265036"/>
                  <a:pt x="10413656" y="4289229"/>
                </a:cubicBezTo>
                <a:cubicBezTo>
                  <a:pt x="10426045" y="4328785"/>
                  <a:pt x="10442861" y="4346182"/>
                  <a:pt x="10457020" y="4372442"/>
                </a:cubicBezTo>
                <a:lnTo>
                  <a:pt x="10505413" y="4453971"/>
                </a:lnTo>
                <a:cubicBezTo>
                  <a:pt x="10534197" y="4492499"/>
                  <a:pt x="10551476" y="4523051"/>
                  <a:pt x="10582030" y="4553601"/>
                </a:cubicBezTo>
                <a:lnTo>
                  <a:pt x="10582737" y="4554004"/>
                </a:lnTo>
                <a:lnTo>
                  <a:pt x="10543157" y="4797148"/>
                </a:lnTo>
                <a:lnTo>
                  <a:pt x="10523089" y="5062041"/>
                </a:lnTo>
                <a:lnTo>
                  <a:pt x="493145" y="5062041"/>
                </a:lnTo>
                <a:lnTo>
                  <a:pt x="347440" y="4489271"/>
                </a:lnTo>
                <a:lnTo>
                  <a:pt x="346169" y="4489272"/>
                </a:lnTo>
                <a:cubicBezTo>
                  <a:pt x="488409" y="4018102"/>
                  <a:pt x="598899" y="3539314"/>
                  <a:pt x="623030" y="3035123"/>
                </a:cubicBezTo>
                <a:cubicBezTo>
                  <a:pt x="658589" y="2287094"/>
                  <a:pt x="548099" y="1527634"/>
                  <a:pt x="320769" y="813894"/>
                </a:cubicBezTo>
                <a:cubicBezTo>
                  <a:pt x="242664" y="567514"/>
                  <a:pt x="148684" y="322404"/>
                  <a:pt x="39941" y="81898"/>
                </a:cubicBezTo>
                <a:close/>
              </a:path>
            </a:pathLst>
          </a:custGeom>
          <a:solidFill>
            <a:srgbClr val="D9D9D9"/>
          </a:solidFill>
        </p:spPr>
        <p:txBody>
          <a:bodyPr wrap="square" tIns="612000">
            <a:noAutofit/>
          </a:bodyPr>
          <a:lstStyle>
            <a:lvl1pPr algn="ctr" rtl="0">
              <a:defRPr sz="1400"/>
            </a:lvl1pPr>
          </a:lstStyle>
          <a:p>
            <a:r>
              <a:rPr lang="nl-NL" noProof="0" dirty="0"/>
              <a:t>Invoegen beeld</a:t>
            </a:r>
          </a:p>
        </p:txBody>
      </p:sp>
      <p:sp>
        <p:nvSpPr>
          <p:cNvPr id="2" name="Title 1">
            <a:extLst>
              <a:ext uri="{FF2B5EF4-FFF2-40B4-BE49-F238E27FC236}">
                <a16:creationId xmlns:a16="http://schemas.microsoft.com/office/drawing/2014/main" id="{F1BB82A0-54D2-4E81-A25F-2C5C05B59329}"/>
              </a:ext>
            </a:extLst>
          </p:cNvPr>
          <p:cNvSpPr>
            <a:spLocks noGrp="1"/>
          </p:cNvSpPr>
          <p:nvPr>
            <p:ph type="title"/>
          </p:nvPr>
        </p:nvSpPr>
        <p:spPr/>
        <p:txBody>
          <a:bodyPr vert="horz"/>
          <a:lstStyle/>
          <a:p>
            <a:r>
              <a:rPr lang="en-US"/>
              <a:t>Click to edit Master title style</a:t>
            </a:r>
          </a:p>
        </p:txBody>
      </p:sp>
      <p:sp>
        <p:nvSpPr>
          <p:cNvPr id="11" name="Slide Number Placeholder 5">
            <a:extLst>
              <a:ext uri="{FF2B5EF4-FFF2-40B4-BE49-F238E27FC236}">
                <a16:creationId xmlns:a16="http://schemas.microsoft.com/office/drawing/2014/main" id="{5DE56CD9-E26D-49A1-B179-AF604885A66B}"/>
              </a:ext>
            </a:extLst>
          </p:cNvPr>
          <p:cNvSpPr>
            <a:spLocks noGrp="1"/>
          </p:cNvSpPr>
          <p:nvPr>
            <p:ph type="sldNum" sz="quarter" idx="4"/>
          </p:nvPr>
        </p:nvSpPr>
        <p:spPr>
          <a:xfrm>
            <a:off x="361178" y="6246000"/>
            <a:ext cx="398364" cy="153888"/>
          </a:xfrm>
          <a:prstGeom prst="rect">
            <a:avLst/>
          </a:prstGeom>
        </p:spPr>
        <p:txBody>
          <a:bodyPr vert="horz" wrap="square" lIns="0" tIns="0" rIns="0" bIns="0" rtlCol="0" anchor="ctr">
            <a:spAutoFit/>
          </a:bodyPr>
          <a:lstStyle>
            <a:lvl1pPr algn="l">
              <a:defRPr sz="1000">
                <a:solidFill>
                  <a:schemeClr val="tx2"/>
                </a:solidFill>
              </a:defRPr>
            </a:lvl1pPr>
          </a:lstStyle>
          <a:p>
            <a:fld id="{01ED78C3-3A94-496B-9AE8-73034C580365}" type="slidenum">
              <a:rPr lang="en-US" smtClean="0"/>
              <a:pPr/>
              <a:t>‹#›</a:t>
            </a:fld>
            <a:endParaRPr lang="en-US"/>
          </a:p>
        </p:txBody>
      </p:sp>
    </p:spTree>
    <p:extLst>
      <p:ext uri="{BB962C8B-B14F-4D97-AF65-F5344CB8AC3E}">
        <p14:creationId xmlns:p14="http://schemas.microsoft.com/office/powerpoint/2010/main" val="9392931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 beeld IV">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FECFAD-F7CB-408C-AF0B-BB8577CC742C}"/>
              </a:ext>
            </a:extLst>
          </p:cNvPr>
          <p:cNvGraphicFramePr>
            <a:graphicFrameLocks noChangeAspect="1"/>
          </p:cNvGraphicFramePr>
          <p:nvPr userDrawn="1">
            <p:custDataLst>
              <p:tags r:id="rId1"/>
            </p:custDataLst>
            <p:extLst>
              <p:ext uri="{D42A27DB-BD31-4B8C-83A1-F6EECF244321}">
                <p14:modId xmlns:p14="http://schemas.microsoft.com/office/powerpoint/2010/main" val="308108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9" imgH="429" progId="TCLayout.ActiveDocument.1">
                  <p:embed/>
                </p:oleObj>
              </mc:Choice>
              <mc:Fallback>
                <p:oleObj name="think-cell Slide" r:id="rId3" imgW="429" imgH="429" progId="TCLayout.ActiveDocument.1">
                  <p:embed/>
                  <p:pic>
                    <p:nvPicPr>
                      <p:cNvPr id="5" name="Object 4" hidden="1">
                        <a:extLst>
                          <a:ext uri="{FF2B5EF4-FFF2-40B4-BE49-F238E27FC236}">
                            <a16:creationId xmlns:a16="http://schemas.microsoft.com/office/drawing/2014/main" id="{33FECFAD-F7CB-408C-AF0B-BB8577CC74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E3BE9017-C91F-4658-968B-089950FEB0A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18004663-BB27-42C6-82C4-CE4AFAB2AB0F}"/>
              </a:ext>
            </a:extLst>
          </p:cNvPr>
          <p:cNvSpPr/>
          <p:nvPr userDrawn="1"/>
        </p:nvSpPr>
        <p:spPr>
          <a:xfrm>
            <a:off x="7904747" y="0"/>
            <a:ext cx="4287253"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4">
            <a:extLst>
              <a:ext uri="{FF2B5EF4-FFF2-40B4-BE49-F238E27FC236}">
                <a16:creationId xmlns:a16="http://schemas.microsoft.com/office/drawing/2014/main" id="{36C5967C-9C9B-4FE1-9CDB-F279CA5FABBF}"/>
              </a:ext>
            </a:extLst>
          </p:cNvPr>
          <p:cNvSpPr>
            <a:spLocks noGrp="1"/>
          </p:cNvSpPr>
          <p:nvPr>
            <p:ph type="title"/>
          </p:nvPr>
        </p:nvSpPr>
        <p:spPr>
          <a:xfrm>
            <a:off x="894132" y="887472"/>
            <a:ext cx="6240593" cy="498598"/>
          </a:xfrm>
        </p:spPr>
        <p:txBody>
          <a:bodyPr vert="horz"/>
          <a:lstStyle>
            <a:lvl1pPr>
              <a:defRPr/>
            </a:lvl1pPr>
          </a:lstStyle>
          <a:p>
            <a:endParaRPr lang="en-US" dirty="0"/>
          </a:p>
        </p:txBody>
      </p:sp>
      <p:sp>
        <p:nvSpPr>
          <p:cNvPr id="27" name="Picture Placeholder 26">
            <a:extLst>
              <a:ext uri="{FF2B5EF4-FFF2-40B4-BE49-F238E27FC236}">
                <a16:creationId xmlns:a16="http://schemas.microsoft.com/office/drawing/2014/main" id="{EF4C4C0A-E694-4825-8DD4-087B6B97A8F6}"/>
              </a:ext>
            </a:extLst>
          </p:cNvPr>
          <p:cNvSpPr>
            <a:spLocks noGrp="1"/>
          </p:cNvSpPr>
          <p:nvPr>
            <p:ph type="pic" sz="quarter" idx="13" hasCustomPrompt="1"/>
          </p:nvPr>
        </p:nvSpPr>
        <p:spPr>
          <a:xfrm>
            <a:off x="7904163" y="0"/>
            <a:ext cx="4287837" cy="6858000"/>
          </a:xfrm>
          <a:custGeom>
            <a:avLst/>
            <a:gdLst>
              <a:gd name="connsiteX0" fmla="*/ 3411513 w 4287837"/>
              <a:gd name="connsiteY0" fmla="*/ 5708580 h 6858000"/>
              <a:gd name="connsiteX1" fmla="*/ 3379293 w 4287837"/>
              <a:gd name="connsiteY1" fmla="*/ 5709618 h 6858000"/>
              <a:gd name="connsiteX2" fmla="*/ 3328254 w 4287837"/>
              <a:gd name="connsiteY2" fmla="*/ 5720888 h 6858000"/>
              <a:gd name="connsiteX3" fmla="*/ 3283928 w 4287837"/>
              <a:gd name="connsiteY3" fmla="*/ 5753258 h 6858000"/>
              <a:gd name="connsiteX4" fmla="*/ 3251577 w 4287837"/>
              <a:gd name="connsiteY4" fmla="*/ 5789708 h 6858000"/>
              <a:gd name="connsiteX5" fmla="*/ 3221519 w 4287837"/>
              <a:gd name="connsiteY5" fmla="*/ 5829546 h 6858000"/>
              <a:gd name="connsiteX6" fmla="*/ 3197612 w 4287837"/>
              <a:gd name="connsiteY6" fmla="*/ 5859392 h 6858000"/>
              <a:gd name="connsiteX7" fmla="*/ 3178731 w 4287837"/>
              <a:gd name="connsiteY7" fmla="*/ 5891115 h 6858000"/>
              <a:gd name="connsiteX8" fmla="*/ 3159519 w 4287837"/>
              <a:gd name="connsiteY8" fmla="*/ 5951250 h 6858000"/>
              <a:gd name="connsiteX9" fmla="*/ 3143679 w 4287837"/>
              <a:gd name="connsiteY9" fmla="*/ 6013048 h 6858000"/>
              <a:gd name="connsiteX10" fmla="*/ 3146336 w 4287837"/>
              <a:gd name="connsiteY10" fmla="*/ 6084634 h 6858000"/>
              <a:gd name="connsiteX11" fmla="*/ 3189731 w 4287837"/>
              <a:gd name="connsiteY11" fmla="*/ 6167724 h 6858000"/>
              <a:gd name="connsiteX12" fmla="*/ 3238159 w 4287837"/>
              <a:gd name="connsiteY12" fmla="*/ 6249132 h 6858000"/>
              <a:gd name="connsiteX13" fmla="*/ 3274591 w 4287837"/>
              <a:gd name="connsiteY13" fmla="*/ 6302841 h 6858000"/>
              <a:gd name="connsiteX14" fmla="*/ 3314830 w 4287837"/>
              <a:gd name="connsiteY14" fmla="*/ 6348615 h 6858000"/>
              <a:gd name="connsiteX15" fmla="*/ 3315538 w 4287837"/>
              <a:gd name="connsiteY15" fmla="*/ 6349018 h 6858000"/>
              <a:gd name="connsiteX16" fmla="*/ 3351571 w 4287837"/>
              <a:gd name="connsiteY16" fmla="*/ 6373318 h 6858000"/>
              <a:gd name="connsiteX17" fmla="*/ 3391121 w 4287837"/>
              <a:gd name="connsiteY17" fmla="*/ 6390751 h 6858000"/>
              <a:gd name="connsiteX18" fmla="*/ 3432519 w 4287837"/>
              <a:gd name="connsiteY18" fmla="*/ 6401034 h 6858000"/>
              <a:gd name="connsiteX19" fmla="*/ 3473787 w 4287837"/>
              <a:gd name="connsiteY19" fmla="*/ 6406979 h 6858000"/>
              <a:gd name="connsiteX20" fmla="*/ 3532514 w 4287837"/>
              <a:gd name="connsiteY20" fmla="*/ 6403409 h 6858000"/>
              <a:gd name="connsiteX21" fmla="*/ 3587273 w 4287837"/>
              <a:gd name="connsiteY21" fmla="*/ 6386780 h 6858000"/>
              <a:gd name="connsiteX22" fmla="*/ 3648108 w 4287837"/>
              <a:gd name="connsiteY22" fmla="*/ 6361251 h 6858000"/>
              <a:gd name="connsiteX23" fmla="*/ 3703139 w 4287837"/>
              <a:gd name="connsiteY23" fmla="*/ 6333724 h 6858000"/>
              <a:gd name="connsiteX24" fmla="*/ 3740214 w 4287837"/>
              <a:gd name="connsiteY24" fmla="*/ 6314732 h 6858000"/>
              <a:gd name="connsiteX25" fmla="*/ 3773553 w 4287837"/>
              <a:gd name="connsiteY25" fmla="*/ 6288623 h 6858000"/>
              <a:gd name="connsiteX26" fmla="*/ 3800481 w 4287837"/>
              <a:gd name="connsiteY26" fmla="*/ 6254596 h 6858000"/>
              <a:gd name="connsiteX27" fmla="*/ 3814533 w 4287837"/>
              <a:gd name="connsiteY27" fmla="*/ 6230764 h 6858000"/>
              <a:gd name="connsiteX28" fmla="*/ 3825497 w 4287837"/>
              <a:gd name="connsiteY28" fmla="*/ 6205807 h 6858000"/>
              <a:gd name="connsiteX29" fmla="*/ 3836418 w 4287837"/>
              <a:gd name="connsiteY29" fmla="*/ 6165410 h 6858000"/>
              <a:gd name="connsiteX30" fmla="*/ 3840280 w 4287837"/>
              <a:gd name="connsiteY30" fmla="*/ 6090076 h 6858000"/>
              <a:gd name="connsiteX31" fmla="*/ 3829595 w 4287837"/>
              <a:gd name="connsiteY31" fmla="*/ 6042422 h 6858000"/>
              <a:gd name="connsiteX32" fmla="*/ 3803322 w 4287837"/>
              <a:gd name="connsiteY32" fmla="*/ 5967533 h 6858000"/>
              <a:gd name="connsiteX33" fmla="*/ 3794796 w 4287837"/>
              <a:gd name="connsiteY33" fmla="*/ 5903997 h 6858000"/>
              <a:gd name="connsiteX34" fmla="*/ 3783294 w 4287837"/>
              <a:gd name="connsiteY34" fmla="*/ 5867312 h 6858000"/>
              <a:gd name="connsiteX35" fmla="*/ 3768801 w 4287837"/>
              <a:gd name="connsiteY35" fmla="*/ 5834569 h 6858000"/>
              <a:gd name="connsiteX36" fmla="*/ 3722187 w 4287837"/>
              <a:gd name="connsiteY36" fmla="*/ 5774663 h 6858000"/>
              <a:gd name="connsiteX37" fmla="*/ 3642608 w 4287837"/>
              <a:gd name="connsiteY37" fmla="*/ 5733050 h 6858000"/>
              <a:gd name="connsiteX38" fmla="*/ 3465937 w 4287837"/>
              <a:gd name="connsiteY38" fmla="*/ 5711457 h 6858000"/>
              <a:gd name="connsiteX39" fmla="*/ 3457178 w 4287837"/>
              <a:gd name="connsiteY39" fmla="*/ 5710502 h 6858000"/>
              <a:gd name="connsiteX40" fmla="*/ 3411513 w 4287837"/>
              <a:gd name="connsiteY40" fmla="*/ 5708580 h 6858000"/>
              <a:gd name="connsiteX41" fmla="*/ 0 w 4287837"/>
              <a:gd name="connsiteY41" fmla="*/ 0 h 6858000"/>
              <a:gd name="connsiteX42" fmla="*/ 4287837 w 4287837"/>
              <a:gd name="connsiteY42" fmla="*/ 0 h 6858000"/>
              <a:gd name="connsiteX43" fmla="*/ 4287837 w 4287837"/>
              <a:gd name="connsiteY43" fmla="*/ 6858000 h 6858000"/>
              <a:gd name="connsiteX44" fmla="*/ 0 w 4287837"/>
              <a:gd name="connsiteY4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287837" h="6858000">
                <a:moveTo>
                  <a:pt x="3411513" y="5708580"/>
                </a:moveTo>
                <a:cubicBezTo>
                  <a:pt x="3399396" y="5708604"/>
                  <a:pt x="3389520" y="5709120"/>
                  <a:pt x="3379293" y="5709618"/>
                </a:cubicBezTo>
                <a:cubicBezTo>
                  <a:pt x="3358839" y="5710611"/>
                  <a:pt x="3344738" y="5714205"/>
                  <a:pt x="3328254" y="5720888"/>
                </a:cubicBezTo>
                <a:cubicBezTo>
                  <a:pt x="3311117" y="5733153"/>
                  <a:pt x="3297523" y="5737453"/>
                  <a:pt x="3283928" y="5753258"/>
                </a:cubicBezTo>
                <a:cubicBezTo>
                  <a:pt x="3273674" y="5765672"/>
                  <a:pt x="3261831" y="5777295"/>
                  <a:pt x="3251577" y="5789708"/>
                </a:cubicBezTo>
                <a:lnTo>
                  <a:pt x="3221519" y="5829546"/>
                </a:lnTo>
                <a:cubicBezTo>
                  <a:pt x="3214344" y="5839759"/>
                  <a:pt x="3204787" y="5849179"/>
                  <a:pt x="3197612" y="5859392"/>
                </a:cubicBezTo>
                <a:lnTo>
                  <a:pt x="3178731" y="5891115"/>
                </a:lnTo>
                <a:cubicBezTo>
                  <a:pt x="3172592" y="5910895"/>
                  <a:pt x="3165658" y="5931469"/>
                  <a:pt x="3159519" y="5951250"/>
                </a:cubicBezTo>
                <a:lnTo>
                  <a:pt x="3143679" y="6013048"/>
                </a:lnTo>
                <a:cubicBezTo>
                  <a:pt x="3138956" y="6037205"/>
                  <a:pt x="3144860" y="6060476"/>
                  <a:pt x="3146336" y="6084634"/>
                </a:cubicBezTo>
                <a:cubicBezTo>
                  <a:pt x="3158734" y="6124131"/>
                  <a:pt x="3175562" y="6141503"/>
                  <a:pt x="3189731" y="6167724"/>
                </a:cubicBezTo>
                <a:lnTo>
                  <a:pt x="3238159" y="6249132"/>
                </a:lnTo>
                <a:cubicBezTo>
                  <a:pt x="3252302" y="6271389"/>
                  <a:pt x="3261813" y="6286261"/>
                  <a:pt x="3274591" y="6302841"/>
                </a:cubicBezTo>
                <a:cubicBezTo>
                  <a:pt x="3287370" y="6319422"/>
                  <a:pt x="3308006" y="6340655"/>
                  <a:pt x="3314830" y="6348615"/>
                </a:cubicBezTo>
                <a:lnTo>
                  <a:pt x="3315538" y="6349018"/>
                </a:lnTo>
                <a:cubicBezTo>
                  <a:pt x="3328871" y="6356062"/>
                  <a:pt x="3338238" y="6366273"/>
                  <a:pt x="3351571" y="6373318"/>
                </a:cubicBezTo>
                <a:lnTo>
                  <a:pt x="3391121" y="6390751"/>
                </a:lnTo>
                <a:cubicBezTo>
                  <a:pt x="3404920" y="6393123"/>
                  <a:pt x="3418720" y="6398663"/>
                  <a:pt x="3432519" y="6401034"/>
                </a:cubicBezTo>
                <a:lnTo>
                  <a:pt x="3473787" y="6406979"/>
                </a:lnTo>
                <a:lnTo>
                  <a:pt x="3532514" y="6403409"/>
                </a:lnTo>
                <a:lnTo>
                  <a:pt x="3587273" y="6386780"/>
                </a:lnTo>
                <a:cubicBezTo>
                  <a:pt x="3607551" y="6377514"/>
                  <a:pt x="3627830" y="6370517"/>
                  <a:pt x="3648108" y="6361251"/>
                </a:cubicBezTo>
                <a:lnTo>
                  <a:pt x="3703139" y="6333724"/>
                </a:lnTo>
                <a:cubicBezTo>
                  <a:pt x="3714626" y="6326787"/>
                  <a:pt x="3728728" y="6321669"/>
                  <a:pt x="3740214" y="6314732"/>
                </a:cubicBezTo>
                <a:lnTo>
                  <a:pt x="3773553" y="6288623"/>
                </a:lnTo>
                <a:cubicBezTo>
                  <a:pt x="3781391" y="6275768"/>
                  <a:pt x="3792642" y="6267451"/>
                  <a:pt x="3800481" y="6254596"/>
                </a:cubicBezTo>
                <a:lnTo>
                  <a:pt x="3814533" y="6230764"/>
                </a:lnTo>
                <a:cubicBezTo>
                  <a:pt x="3817944" y="6222064"/>
                  <a:pt x="3821453" y="6216304"/>
                  <a:pt x="3825497" y="6205807"/>
                </a:cubicBezTo>
                <a:cubicBezTo>
                  <a:pt x="3829542" y="6195311"/>
                  <a:pt x="3833197" y="6184132"/>
                  <a:pt x="3836418" y="6165410"/>
                </a:cubicBezTo>
                <a:cubicBezTo>
                  <a:pt x="3839557" y="6143202"/>
                  <a:pt x="3839521" y="6114659"/>
                  <a:pt x="3840280" y="6090076"/>
                </a:cubicBezTo>
                <a:cubicBezTo>
                  <a:pt x="3834973" y="6070787"/>
                  <a:pt x="3834902" y="6061710"/>
                  <a:pt x="3829595" y="6042422"/>
                </a:cubicBezTo>
                <a:lnTo>
                  <a:pt x="3803322" y="5967533"/>
                </a:lnTo>
                <a:cubicBezTo>
                  <a:pt x="3798205" y="5945976"/>
                  <a:pt x="3799912" y="5925554"/>
                  <a:pt x="3794796" y="5903997"/>
                </a:cubicBezTo>
                <a:cubicBezTo>
                  <a:pt x="3790168" y="5891769"/>
                  <a:pt x="3787922" y="5879541"/>
                  <a:pt x="3783294" y="5867312"/>
                </a:cubicBezTo>
                <a:lnTo>
                  <a:pt x="3768801" y="5834569"/>
                </a:lnTo>
                <a:cubicBezTo>
                  <a:pt x="3756038" y="5813278"/>
                  <a:pt x="3743484" y="5791846"/>
                  <a:pt x="3722187" y="5774663"/>
                </a:cubicBezTo>
                <a:cubicBezTo>
                  <a:pt x="3700890" y="5757479"/>
                  <a:pt x="3685449" y="5747015"/>
                  <a:pt x="3642608" y="5733050"/>
                </a:cubicBezTo>
                <a:cubicBezTo>
                  <a:pt x="3585305" y="5721629"/>
                  <a:pt x="3524034" y="5718919"/>
                  <a:pt x="3465937" y="5711457"/>
                </a:cubicBezTo>
                <a:lnTo>
                  <a:pt x="3457178" y="5710502"/>
                </a:lnTo>
                <a:cubicBezTo>
                  <a:pt x="3437987" y="5709027"/>
                  <a:pt x="3423629" y="5708557"/>
                  <a:pt x="3411513" y="5708580"/>
                </a:cubicBezTo>
                <a:close/>
                <a:moveTo>
                  <a:pt x="0" y="0"/>
                </a:moveTo>
                <a:lnTo>
                  <a:pt x="4287837" y="0"/>
                </a:lnTo>
                <a:lnTo>
                  <a:pt x="4287837" y="6858000"/>
                </a:lnTo>
                <a:lnTo>
                  <a:pt x="0" y="6858000"/>
                </a:lnTo>
                <a:close/>
              </a:path>
            </a:pathLst>
          </a:custGeom>
          <a:noFill/>
        </p:spPr>
        <p:txBody>
          <a:bodyPr wrap="square" tIns="360000">
            <a:noAutofit/>
          </a:bodyPr>
          <a:lstStyle>
            <a:lvl1pPr algn="ctr" rtl="0">
              <a:defRPr sz="1400"/>
            </a:lvl1pPr>
          </a:lstStyle>
          <a:p>
            <a:r>
              <a:rPr lang="nl-NL" noProof="0"/>
              <a:t>Invoegen beeld</a:t>
            </a:r>
          </a:p>
        </p:txBody>
      </p:sp>
      <p:pic>
        <p:nvPicPr>
          <p:cNvPr id="13" name="Picture 12">
            <a:extLst>
              <a:ext uri="{FF2B5EF4-FFF2-40B4-BE49-F238E27FC236}">
                <a16:creationId xmlns:a16="http://schemas.microsoft.com/office/drawing/2014/main" id="{ABDB75F0-8665-407C-B851-55ED1EEE348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046022" y="5707099"/>
            <a:ext cx="698421" cy="699880"/>
          </a:xfrm>
          <a:prstGeom prst="rect">
            <a:avLst/>
          </a:prstGeom>
        </p:spPr>
      </p:pic>
      <p:sp>
        <p:nvSpPr>
          <p:cNvPr id="10" name="Slide Number Placeholder 5">
            <a:extLst>
              <a:ext uri="{FF2B5EF4-FFF2-40B4-BE49-F238E27FC236}">
                <a16:creationId xmlns:a16="http://schemas.microsoft.com/office/drawing/2014/main" id="{FC16B8E6-B833-4104-861C-63A53B0691A2}"/>
              </a:ext>
            </a:extLst>
          </p:cNvPr>
          <p:cNvSpPr>
            <a:spLocks noGrp="1"/>
          </p:cNvSpPr>
          <p:nvPr>
            <p:ph type="sldNum" sz="quarter" idx="4"/>
          </p:nvPr>
        </p:nvSpPr>
        <p:spPr>
          <a:xfrm>
            <a:off x="361178" y="6246000"/>
            <a:ext cx="398364" cy="153888"/>
          </a:xfrm>
          <a:prstGeom prst="rect">
            <a:avLst/>
          </a:prstGeom>
        </p:spPr>
        <p:txBody>
          <a:bodyPr vert="horz" wrap="square" lIns="0" tIns="0" rIns="0" bIns="0" rtlCol="0" anchor="ctr">
            <a:spAutoFit/>
          </a:bodyPr>
          <a:lstStyle>
            <a:lvl1pPr algn="l">
              <a:defRPr sz="1000">
                <a:solidFill>
                  <a:schemeClr val="tx2"/>
                </a:solidFill>
              </a:defRPr>
            </a:lvl1pPr>
          </a:lstStyle>
          <a:p>
            <a:fld id="{01ED78C3-3A94-496B-9AE8-73034C580365}" type="slidenum">
              <a:rPr lang="en-US" smtClean="0"/>
              <a:pPr/>
              <a:t>‹#›</a:t>
            </a:fld>
            <a:endParaRPr lang="en-US"/>
          </a:p>
        </p:txBody>
      </p:sp>
    </p:spTree>
    <p:extLst>
      <p:ext uri="{BB962C8B-B14F-4D97-AF65-F5344CB8AC3E}">
        <p14:creationId xmlns:p14="http://schemas.microsoft.com/office/powerpoint/2010/main" val="2913915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 - beeld V">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0B19A-2D30-43E1-81DA-506B570041D3}"/>
              </a:ext>
            </a:extLst>
          </p:cNvPr>
          <p:cNvGraphicFramePr>
            <a:graphicFrameLocks noChangeAspect="1"/>
          </p:cNvGraphicFramePr>
          <p:nvPr userDrawn="1">
            <p:custDataLst>
              <p:tags r:id="rId1"/>
            </p:custDataLst>
            <p:extLst>
              <p:ext uri="{D42A27DB-BD31-4B8C-83A1-F6EECF244321}">
                <p14:modId xmlns:p14="http://schemas.microsoft.com/office/powerpoint/2010/main" val="2310964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9" imgH="429" progId="TCLayout.ActiveDocument.1">
                  <p:embed/>
                </p:oleObj>
              </mc:Choice>
              <mc:Fallback>
                <p:oleObj name="think-cell Slide" r:id="rId3" imgW="429" imgH="429" progId="TCLayout.ActiveDocument.1">
                  <p:embed/>
                  <p:pic>
                    <p:nvPicPr>
                      <p:cNvPr id="5" name="Object 4" hidden="1">
                        <a:extLst>
                          <a:ext uri="{FF2B5EF4-FFF2-40B4-BE49-F238E27FC236}">
                            <a16:creationId xmlns:a16="http://schemas.microsoft.com/office/drawing/2014/main" id="{13A0B19A-2D30-43E1-81DA-506B570041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3" name="Picture Placeholder 32">
            <a:extLst>
              <a:ext uri="{FF2B5EF4-FFF2-40B4-BE49-F238E27FC236}">
                <a16:creationId xmlns:a16="http://schemas.microsoft.com/office/drawing/2014/main" id="{68974698-D580-4DEB-9B08-FA46158F21FE}"/>
              </a:ext>
            </a:extLst>
          </p:cNvPr>
          <p:cNvSpPr>
            <a:spLocks noGrp="1"/>
          </p:cNvSpPr>
          <p:nvPr>
            <p:ph type="pic" sz="quarter" idx="11" hasCustomPrompt="1"/>
          </p:nvPr>
        </p:nvSpPr>
        <p:spPr>
          <a:xfrm>
            <a:off x="3904129" y="0"/>
            <a:ext cx="8283109" cy="6858000"/>
          </a:xfrm>
          <a:custGeom>
            <a:avLst/>
            <a:gdLst>
              <a:gd name="connsiteX0" fmla="*/ 8283109 w 8283109"/>
              <a:gd name="connsiteY0" fmla="*/ 3767017 h 6858000"/>
              <a:gd name="connsiteX1" fmla="*/ 8283109 w 8283109"/>
              <a:gd name="connsiteY1" fmla="*/ 3767922 h 6858000"/>
              <a:gd name="connsiteX2" fmla="*/ 8108974 w 8283109"/>
              <a:gd name="connsiteY2" fmla="*/ 3910958 h 6858000"/>
              <a:gd name="connsiteX3" fmla="*/ 6972830 w 8283109"/>
              <a:gd name="connsiteY3" fmla="*/ 4662997 h 6858000"/>
              <a:gd name="connsiteX4" fmla="*/ 6971782 w 8283109"/>
              <a:gd name="connsiteY4" fmla="*/ 4663625 h 6858000"/>
              <a:gd name="connsiteX5" fmla="*/ 6972830 w 8283109"/>
              <a:gd name="connsiteY5" fmla="*/ 4662995 h 6858000"/>
              <a:gd name="connsiteX6" fmla="*/ 8282575 w 8283109"/>
              <a:gd name="connsiteY6" fmla="*/ 3767499 h 6858000"/>
              <a:gd name="connsiteX7" fmla="*/ 0 w 8283109"/>
              <a:gd name="connsiteY7" fmla="*/ 0 h 6858000"/>
              <a:gd name="connsiteX8" fmla="*/ 8283109 w 8283109"/>
              <a:gd name="connsiteY8" fmla="*/ 0 h 6858000"/>
              <a:gd name="connsiteX9" fmla="*/ 8283109 w 8283109"/>
              <a:gd name="connsiteY9" fmla="*/ 3214692 h 6858000"/>
              <a:gd name="connsiteX10" fmla="*/ 8191466 w 8283109"/>
              <a:gd name="connsiteY10" fmla="*/ 3222783 h 6858000"/>
              <a:gd name="connsiteX11" fmla="*/ 6074536 w 8283109"/>
              <a:gd name="connsiteY11" fmla="*/ 3856183 h 6858000"/>
              <a:gd name="connsiteX12" fmla="*/ 4331312 w 8283109"/>
              <a:gd name="connsiteY12" fmla="*/ 6770874 h 6858000"/>
              <a:gd name="connsiteX13" fmla="*/ 4312665 w 8283109"/>
              <a:gd name="connsiteY13" fmla="*/ 6858000 h 6858000"/>
              <a:gd name="connsiteX14" fmla="*/ 1099746 w 8283109"/>
              <a:gd name="connsiteY14" fmla="*/ 6858000 h 6858000"/>
              <a:gd name="connsiteX15" fmla="*/ 1159598 w 8283109"/>
              <a:gd name="connsiteY15" fmla="*/ 6573541 h 6858000"/>
              <a:gd name="connsiteX16" fmla="*/ 1201901 w 8283109"/>
              <a:gd name="connsiteY16" fmla="*/ 6274084 h 6858000"/>
              <a:gd name="connsiteX17" fmla="*/ 974469 w 8283109"/>
              <a:gd name="connsiteY17" fmla="*/ 3796469 h 6858000"/>
              <a:gd name="connsiteX18" fmla="*/ 844869 w 8283109"/>
              <a:gd name="connsiteY18" fmla="*/ 4361873 h 6858000"/>
              <a:gd name="connsiteX19" fmla="*/ 550774 w 8283109"/>
              <a:gd name="connsiteY19" fmla="*/ 6451288 h 6858000"/>
              <a:gd name="connsiteX20" fmla="*/ 513510 w 8283109"/>
              <a:gd name="connsiteY20" fmla="*/ 6858000 h 6858000"/>
              <a:gd name="connsiteX21" fmla="*/ 512197 w 8283109"/>
              <a:gd name="connsiteY21" fmla="*/ 6858000 h 6858000"/>
              <a:gd name="connsiteX22" fmla="*/ 549682 w 8283109"/>
              <a:gd name="connsiteY22" fmla="*/ 6449997 h 6858000"/>
              <a:gd name="connsiteX23" fmla="*/ 843601 w 8283109"/>
              <a:gd name="connsiteY23" fmla="*/ 4359333 h 6858000"/>
              <a:gd name="connsiteX24" fmla="*/ 972865 w 8283109"/>
              <a:gd name="connsiteY24" fmla="*/ 3795379 h 6858000"/>
              <a:gd name="connsiteX25" fmla="*/ 973199 w 8283109"/>
              <a:gd name="connsiteY25" fmla="*/ 3796469 h 6858000"/>
              <a:gd name="connsiteX26" fmla="*/ 1125669 w 8283109"/>
              <a:gd name="connsiteY26" fmla="*/ 1692404 h 6858000"/>
              <a:gd name="connsiteX27" fmla="*/ 324860 w 8283109"/>
              <a:gd name="connsiteY27" fmla="*/ 323109 h 6858000"/>
              <a:gd name="connsiteX0" fmla="*/ 8283109 w 8283109"/>
              <a:gd name="connsiteY0" fmla="*/ 3767017 h 6858000"/>
              <a:gd name="connsiteX1" fmla="*/ 8283109 w 8283109"/>
              <a:gd name="connsiteY1" fmla="*/ 3767922 h 6858000"/>
              <a:gd name="connsiteX2" fmla="*/ 8108974 w 8283109"/>
              <a:gd name="connsiteY2" fmla="*/ 3910958 h 6858000"/>
              <a:gd name="connsiteX3" fmla="*/ 6972830 w 8283109"/>
              <a:gd name="connsiteY3" fmla="*/ 4662997 h 6858000"/>
              <a:gd name="connsiteX4" fmla="*/ 6971782 w 8283109"/>
              <a:gd name="connsiteY4" fmla="*/ 4663625 h 6858000"/>
              <a:gd name="connsiteX5" fmla="*/ 8282575 w 8283109"/>
              <a:gd name="connsiteY5" fmla="*/ 3767499 h 6858000"/>
              <a:gd name="connsiteX6" fmla="*/ 8283109 w 8283109"/>
              <a:gd name="connsiteY6" fmla="*/ 3767017 h 6858000"/>
              <a:gd name="connsiteX7" fmla="*/ 0 w 8283109"/>
              <a:gd name="connsiteY7" fmla="*/ 0 h 6858000"/>
              <a:gd name="connsiteX8" fmla="*/ 8283109 w 8283109"/>
              <a:gd name="connsiteY8" fmla="*/ 0 h 6858000"/>
              <a:gd name="connsiteX9" fmla="*/ 8283109 w 8283109"/>
              <a:gd name="connsiteY9" fmla="*/ 3214692 h 6858000"/>
              <a:gd name="connsiteX10" fmla="*/ 8191466 w 8283109"/>
              <a:gd name="connsiteY10" fmla="*/ 3222783 h 6858000"/>
              <a:gd name="connsiteX11" fmla="*/ 6074536 w 8283109"/>
              <a:gd name="connsiteY11" fmla="*/ 3856183 h 6858000"/>
              <a:gd name="connsiteX12" fmla="*/ 4331312 w 8283109"/>
              <a:gd name="connsiteY12" fmla="*/ 6770874 h 6858000"/>
              <a:gd name="connsiteX13" fmla="*/ 4312665 w 8283109"/>
              <a:gd name="connsiteY13" fmla="*/ 6858000 h 6858000"/>
              <a:gd name="connsiteX14" fmla="*/ 1099746 w 8283109"/>
              <a:gd name="connsiteY14" fmla="*/ 6858000 h 6858000"/>
              <a:gd name="connsiteX15" fmla="*/ 1159598 w 8283109"/>
              <a:gd name="connsiteY15" fmla="*/ 6573541 h 6858000"/>
              <a:gd name="connsiteX16" fmla="*/ 1201901 w 8283109"/>
              <a:gd name="connsiteY16" fmla="*/ 6274084 h 6858000"/>
              <a:gd name="connsiteX17" fmla="*/ 974469 w 8283109"/>
              <a:gd name="connsiteY17" fmla="*/ 3796469 h 6858000"/>
              <a:gd name="connsiteX18" fmla="*/ 844869 w 8283109"/>
              <a:gd name="connsiteY18" fmla="*/ 4361873 h 6858000"/>
              <a:gd name="connsiteX19" fmla="*/ 550774 w 8283109"/>
              <a:gd name="connsiteY19" fmla="*/ 6451288 h 6858000"/>
              <a:gd name="connsiteX20" fmla="*/ 513510 w 8283109"/>
              <a:gd name="connsiteY20" fmla="*/ 6858000 h 6858000"/>
              <a:gd name="connsiteX21" fmla="*/ 512197 w 8283109"/>
              <a:gd name="connsiteY21" fmla="*/ 6858000 h 6858000"/>
              <a:gd name="connsiteX22" fmla="*/ 549682 w 8283109"/>
              <a:gd name="connsiteY22" fmla="*/ 6449997 h 6858000"/>
              <a:gd name="connsiteX23" fmla="*/ 843601 w 8283109"/>
              <a:gd name="connsiteY23" fmla="*/ 4359333 h 6858000"/>
              <a:gd name="connsiteX24" fmla="*/ 972865 w 8283109"/>
              <a:gd name="connsiteY24" fmla="*/ 3795379 h 6858000"/>
              <a:gd name="connsiteX25" fmla="*/ 973199 w 8283109"/>
              <a:gd name="connsiteY25" fmla="*/ 3796469 h 6858000"/>
              <a:gd name="connsiteX26" fmla="*/ 1125669 w 8283109"/>
              <a:gd name="connsiteY26" fmla="*/ 1692404 h 6858000"/>
              <a:gd name="connsiteX27" fmla="*/ 324860 w 8283109"/>
              <a:gd name="connsiteY27" fmla="*/ 323109 h 6858000"/>
              <a:gd name="connsiteX28" fmla="*/ 0 w 8283109"/>
              <a:gd name="connsiteY28" fmla="*/ 0 h 6858000"/>
              <a:gd name="connsiteX0" fmla="*/ 8283109 w 8283109"/>
              <a:gd name="connsiteY0" fmla="*/ 3767017 h 6858000"/>
              <a:gd name="connsiteX1" fmla="*/ 8283109 w 8283109"/>
              <a:gd name="connsiteY1" fmla="*/ 3767922 h 6858000"/>
              <a:gd name="connsiteX2" fmla="*/ 8108974 w 8283109"/>
              <a:gd name="connsiteY2" fmla="*/ 3910958 h 6858000"/>
              <a:gd name="connsiteX3" fmla="*/ 6972830 w 8283109"/>
              <a:gd name="connsiteY3" fmla="*/ 4662997 h 6858000"/>
              <a:gd name="connsiteX4" fmla="*/ 8282575 w 8283109"/>
              <a:gd name="connsiteY4" fmla="*/ 3767499 h 6858000"/>
              <a:gd name="connsiteX5" fmla="*/ 8283109 w 8283109"/>
              <a:gd name="connsiteY5" fmla="*/ 3767017 h 6858000"/>
              <a:gd name="connsiteX6" fmla="*/ 0 w 8283109"/>
              <a:gd name="connsiteY6" fmla="*/ 0 h 6858000"/>
              <a:gd name="connsiteX7" fmla="*/ 8283109 w 8283109"/>
              <a:gd name="connsiteY7" fmla="*/ 0 h 6858000"/>
              <a:gd name="connsiteX8" fmla="*/ 8283109 w 8283109"/>
              <a:gd name="connsiteY8" fmla="*/ 3214692 h 6858000"/>
              <a:gd name="connsiteX9" fmla="*/ 8191466 w 8283109"/>
              <a:gd name="connsiteY9" fmla="*/ 3222783 h 6858000"/>
              <a:gd name="connsiteX10" fmla="*/ 6074536 w 8283109"/>
              <a:gd name="connsiteY10" fmla="*/ 3856183 h 6858000"/>
              <a:gd name="connsiteX11" fmla="*/ 4331312 w 8283109"/>
              <a:gd name="connsiteY11" fmla="*/ 6770874 h 6858000"/>
              <a:gd name="connsiteX12" fmla="*/ 4312665 w 8283109"/>
              <a:gd name="connsiteY12" fmla="*/ 6858000 h 6858000"/>
              <a:gd name="connsiteX13" fmla="*/ 1099746 w 8283109"/>
              <a:gd name="connsiteY13" fmla="*/ 6858000 h 6858000"/>
              <a:gd name="connsiteX14" fmla="*/ 1159598 w 8283109"/>
              <a:gd name="connsiteY14" fmla="*/ 6573541 h 6858000"/>
              <a:gd name="connsiteX15" fmla="*/ 1201901 w 8283109"/>
              <a:gd name="connsiteY15" fmla="*/ 6274084 h 6858000"/>
              <a:gd name="connsiteX16" fmla="*/ 974469 w 8283109"/>
              <a:gd name="connsiteY16" fmla="*/ 3796469 h 6858000"/>
              <a:gd name="connsiteX17" fmla="*/ 844869 w 8283109"/>
              <a:gd name="connsiteY17" fmla="*/ 4361873 h 6858000"/>
              <a:gd name="connsiteX18" fmla="*/ 550774 w 8283109"/>
              <a:gd name="connsiteY18" fmla="*/ 6451288 h 6858000"/>
              <a:gd name="connsiteX19" fmla="*/ 513510 w 8283109"/>
              <a:gd name="connsiteY19" fmla="*/ 6858000 h 6858000"/>
              <a:gd name="connsiteX20" fmla="*/ 512197 w 8283109"/>
              <a:gd name="connsiteY20" fmla="*/ 6858000 h 6858000"/>
              <a:gd name="connsiteX21" fmla="*/ 549682 w 8283109"/>
              <a:gd name="connsiteY21" fmla="*/ 6449997 h 6858000"/>
              <a:gd name="connsiteX22" fmla="*/ 843601 w 8283109"/>
              <a:gd name="connsiteY22" fmla="*/ 4359333 h 6858000"/>
              <a:gd name="connsiteX23" fmla="*/ 972865 w 8283109"/>
              <a:gd name="connsiteY23" fmla="*/ 3795379 h 6858000"/>
              <a:gd name="connsiteX24" fmla="*/ 973199 w 8283109"/>
              <a:gd name="connsiteY24" fmla="*/ 3796469 h 6858000"/>
              <a:gd name="connsiteX25" fmla="*/ 1125669 w 8283109"/>
              <a:gd name="connsiteY25" fmla="*/ 1692404 h 6858000"/>
              <a:gd name="connsiteX26" fmla="*/ 324860 w 8283109"/>
              <a:gd name="connsiteY26" fmla="*/ 323109 h 6858000"/>
              <a:gd name="connsiteX27" fmla="*/ 0 w 8283109"/>
              <a:gd name="connsiteY27" fmla="*/ 0 h 6858000"/>
              <a:gd name="connsiteX0" fmla="*/ 8283109 w 8283109"/>
              <a:gd name="connsiteY0" fmla="*/ 3767017 h 6858000"/>
              <a:gd name="connsiteX1" fmla="*/ 8283109 w 8283109"/>
              <a:gd name="connsiteY1" fmla="*/ 3767922 h 6858000"/>
              <a:gd name="connsiteX2" fmla="*/ 8108974 w 8283109"/>
              <a:gd name="connsiteY2" fmla="*/ 3910958 h 6858000"/>
              <a:gd name="connsiteX3" fmla="*/ 8282575 w 8283109"/>
              <a:gd name="connsiteY3" fmla="*/ 3767499 h 6858000"/>
              <a:gd name="connsiteX4" fmla="*/ 8283109 w 8283109"/>
              <a:gd name="connsiteY4" fmla="*/ 3767017 h 6858000"/>
              <a:gd name="connsiteX5" fmla="*/ 0 w 8283109"/>
              <a:gd name="connsiteY5" fmla="*/ 0 h 6858000"/>
              <a:gd name="connsiteX6" fmla="*/ 8283109 w 8283109"/>
              <a:gd name="connsiteY6" fmla="*/ 0 h 6858000"/>
              <a:gd name="connsiteX7" fmla="*/ 8283109 w 8283109"/>
              <a:gd name="connsiteY7" fmla="*/ 3214692 h 6858000"/>
              <a:gd name="connsiteX8" fmla="*/ 8191466 w 8283109"/>
              <a:gd name="connsiteY8" fmla="*/ 3222783 h 6858000"/>
              <a:gd name="connsiteX9" fmla="*/ 6074536 w 8283109"/>
              <a:gd name="connsiteY9" fmla="*/ 3856183 h 6858000"/>
              <a:gd name="connsiteX10" fmla="*/ 4331312 w 8283109"/>
              <a:gd name="connsiteY10" fmla="*/ 6770874 h 6858000"/>
              <a:gd name="connsiteX11" fmla="*/ 4312665 w 8283109"/>
              <a:gd name="connsiteY11" fmla="*/ 6858000 h 6858000"/>
              <a:gd name="connsiteX12" fmla="*/ 1099746 w 8283109"/>
              <a:gd name="connsiteY12" fmla="*/ 6858000 h 6858000"/>
              <a:gd name="connsiteX13" fmla="*/ 1159598 w 8283109"/>
              <a:gd name="connsiteY13" fmla="*/ 6573541 h 6858000"/>
              <a:gd name="connsiteX14" fmla="*/ 1201901 w 8283109"/>
              <a:gd name="connsiteY14" fmla="*/ 6274084 h 6858000"/>
              <a:gd name="connsiteX15" fmla="*/ 974469 w 8283109"/>
              <a:gd name="connsiteY15" fmla="*/ 3796469 h 6858000"/>
              <a:gd name="connsiteX16" fmla="*/ 844869 w 8283109"/>
              <a:gd name="connsiteY16" fmla="*/ 4361873 h 6858000"/>
              <a:gd name="connsiteX17" fmla="*/ 550774 w 8283109"/>
              <a:gd name="connsiteY17" fmla="*/ 6451288 h 6858000"/>
              <a:gd name="connsiteX18" fmla="*/ 513510 w 8283109"/>
              <a:gd name="connsiteY18" fmla="*/ 6858000 h 6858000"/>
              <a:gd name="connsiteX19" fmla="*/ 512197 w 8283109"/>
              <a:gd name="connsiteY19" fmla="*/ 6858000 h 6858000"/>
              <a:gd name="connsiteX20" fmla="*/ 549682 w 8283109"/>
              <a:gd name="connsiteY20" fmla="*/ 6449997 h 6858000"/>
              <a:gd name="connsiteX21" fmla="*/ 843601 w 8283109"/>
              <a:gd name="connsiteY21" fmla="*/ 4359333 h 6858000"/>
              <a:gd name="connsiteX22" fmla="*/ 972865 w 8283109"/>
              <a:gd name="connsiteY22" fmla="*/ 3795379 h 6858000"/>
              <a:gd name="connsiteX23" fmla="*/ 973199 w 8283109"/>
              <a:gd name="connsiteY23" fmla="*/ 3796469 h 6858000"/>
              <a:gd name="connsiteX24" fmla="*/ 1125669 w 8283109"/>
              <a:gd name="connsiteY24" fmla="*/ 1692404 h 6858000"/>
              <a:gd name="connsiteX25" fmla="*/ 324860 w 8283109"/>
              <a:gd name="connsiteY25" fmla="*/ 323109 h 6858000"/>
              <a:gd name="connsiteX26" fmla="*/ 0 w 8283109"/>
              <a:gd name="connsiteY26" fmla="*/ 0 h 6858000"/>
              <a:gd name="connsiteX0" fmla="*/ 8283109 w 8283109"/>
              <a:gd name="connsiteY0" fmla="*/ 3767017 h 6858000"/>
              <a:gd name="connsiteX1" fmla="*/ 8283109 w 8283109"/>
              <a:gd name="connsiteY1" fmla="*/ 3767922 h 6858000"/>
              <a:gd name="connsiteX2" fmla="*/ 8282575 w 8283109"/>
              <a:gd name="connsiteY2" fmla="*/ 3767499 h 6858000"/>
              <a:gd name="connsiteX3" fmla="*/ 8283109 w 8283109"/>
              <a:gd name="connsiteY3" fmla="*/ 3767017 h 6858000"/>
              <a:gd name="connsiteX4" fmla="*/ 0 w 8283109"/>
              <a:gd name="connsiteY4" fmla="*/ 0 h 6858000"/>
              <a:gd name="connsiteX5" fmla="*/ 8283109 w 8283109"/>
              <a:gd name="connsiteY5" fmla="*/ 0 h 6858000"/>
              <a:gd name="connsiteX6" fmla="*/ 8283109 w 8283109"/>
              <a:gd name="connsiteY6" fmla="*/ 3214692 h 6858000"/>
              <a:gd name="connsiteX7" fmla="*/ 8191466 w 8283109"/>
              <a:gd name="connsiteY7" fmla="*/ 3222783 h 6858000"/>
              <a:gd name="connsiteX8" fmla="*/ 6074536 w 8283109"/>
              <a:gd name="connsiteY8" fmla="*/ 3856183 h 6858000"/>
              <a:gd name="connsiteX9" fmla="*/ 4331312 w 8283109"/>
              <a:gd name="connsiteY9" fmla="*/ 6770874 h 6858000"/>
              <a:gd name="connsiteX10" fmla="*/ 4312665 w 8283109"/>
              <a:gd name="connsiteY10" fmla="*/ 6858000 h 6858000"/>
              <a:gd name="connsiteX11" fmla="*/ 1099746 w 8283109"/>
              <a:gd name="connsiteY11" fmla="*/ 6858000 h 6858000"/>
              <a:gd name="connsiteX12" fmla="*/ 1159598 w 8283109"/>
              <a:gd name="connsiteY12" fmla="*/ 6573541 h 6858000"/>
              <a:gd name="connsiteX13" fmla="*/ 1201901 w 8283109"/>
              <a:gd name="connsiteY13" fmla="*/ 6274084 h 6858000"/>
              <a:gd name="connsiteX14" fmla="*/ 974469 w 8283109"/>
              <a:gd name="connsiteY14" fmla="*/ 3796469 h 6858000"/>
              <a:gd name="connsiteX15" fmla="*/ 844869 w 8283109"/>
              <a:gd name="connsiteY15" fmla="*/ 4361873 h 6858000"/>
              <a:gd name="connsiteX16" fmla="*/ 550774 w 8283109"/>
              <a:gd name="connsiteY16" fmla="*/ 6451288 h 6858000"/>
              <a:gd name="connsiteX17" fmla="*/ 513510 w 8283109"/>
              <a:gd name="connsiteY17" fmla="*/ 6858000 h 6858000"/>
              <a:gd name="connsiteX18" fmla="*/ 512197 w 8283109"/>
              <a:gd name="connsiteY18" fmla="*/ 6858000 h 6858000"/>
              <a:gd name="connsiteX19" fmla="*/ 549682 w 8283109"/>
              <a:gd name="connsiteY19" fmla="*/ 6449997 h 6858000"/>
              <a:gd name="connsiteX20" fmla="*/ 843601 w 8283109"/>
              <a:gd name="connsiteY20" fmla="*/ 4359333 h 6858000"/>
              <a:gd name="connsiteX21" fmla="*/ 972865 w 8283109"/>
              <a:gd name="connsiteY21" fmla="*/ 3795379 h 6858000"/>
              <a:gd name="connsiteX22" fmla="*/ 973199 w 8283109"/>
              <a:gd name="connsiteY22" fmla="*/ 3796469 h 6858000"/>
              <a:gd name="connsiteX23" fmla="*/ 1125669 w 8283109"/>
              <a:gd name="connsiteY23" fmla="*/ 1692404 h 6858000"/>
              <a:gd name="connsiteX24" fmla="*/ 324860 w 8283109"/>
              <a:gd name="connsiteY24" fmla="*/ 323109 h 6858000"/>
              <a:gd name="connsiteX25" fmla="*/ 0 w 8283109"/>
              <a:gd name="connsiteY25" fmla="*/ 0 h 6858000"/>
              <a:gd name="connsiteX0" fmla="*/ 8282575 w 8283109"/>
              <a:gd name="connsiteY0" fmla="*/ 3767499 h 6858000"/>
              <a:gd name="connsiteX1" fmla="*/ 8283109 w 8283109"/>
              <a:gd name="connsiteY1" fmla="*/ 3767922 h 6858000"/>
              <a:gd name="connsiteX2" fmla="*/ 8282575 w 8283109"/>
              <a:gd name="connsiteY2" fmla="*/ 3767499 h 6858000"/>
              <a:gd name="connsiteX3" fmla="*/ 0 w 8283109"/>
              <a:gd name="connsiteY3" fmla="*/ 0 h 6858000"/>
              <a:gd name="connsiteX4" fmla="*/ 8283109 w 8283109"/>
              <a:gd name="connsiteY4" fmla="*/ 0 h 6858000"/>
              <a:gd name="connsiteX5" fmla="*/ 8283109 w 8283109"/>
              <a:gd name="connsiteY5" fmla="*/ 3214692 h 6858000"/>
              <a:gd name="connsiteX6" fmla="*/ 8191466 w 8283109"/>
              <a:gd name="connsiteY6" fmla="*/ 3222783 h 6858000"/>
              <a:gd name="connsiteX7" fmla="*/ 6074536 w 8283109"/>
              <a:gd name="connsiteY7" fmla="*/ 3856183 h 6858000"/>
              <a:gd name="connsiteX8" fmla="*/ 4331312 w 8283109"/>
              <a:gd name="connsiteY8" fmla="*/ 6770874 h 6858000"/>
              <a:gd name="connsiteX9" fmla="*/ 4312665 w 8283109"/>
              <a:gd name="connsiteY9" fmla="*/ 6858000 h 6858000"/>
              <a:gd name="connsiteX10" fmla="*/ 1099746 w 8283109"/>
              <a:gd name="connsiteY10" fmla="*/ 6858000 h 6858000"/>
              <a:gd name="connsiteX11" fmla="*/ 1159598 w 8283109"/>
              <a:gd name="connsiteY11" fmla="*/ 6573541 h 6858000"/>
              <a:gd name="connsiteX12" fmla="*/ 1201901 w 8283109"/>
              <a:gd name="connsiteY12" fmla="*/ 6274084 h 6858000"/>
              <a:gd name="connsiteX13" fmla="*/ 974469 w 8283109"/>
              <a:gd name="connsiteY13" fmla="*/ 3796469 h 6858000"/>
              <a:gd name="connsiteX14" fmla="*/ 844869 w 8283109"/>
              <a:gd name="connsiteY14" fmla="*/ 4361873 h 6858000"/>
              <a:gd name="connsiteX15" fmla="*/ 550774 w 8283109"/>
              <a:gd name="connsiteY15" fmla="*/ 6451288 h 6858000"/>
              <a:gd name="connsiteX16" fmla="*/ 513510 w 8283109"/>
              <a:gd name="connsiteY16" fmla="*/ 6858000 h 6858000"/>
              <a:gd name="connsiteX17" fmla="*/ 512197 w 8283109"/>
              <a:gd name="connsiteY17" fmla="*/ 6858000 h 6858000"/>
              <a:gd name="connsiteX18" fmla="*/ 549682 w 8283109"/>
              <a:gd name="connsiteY18" fmla="*/ 6449997 h 6858000"/>
              <a:gd name="connsiteX19" fmla="*/ 843601 w 8283109"/>
              <a:gd name="connsiteY19" fmla="*/ 4359333 h 6858000"/>
              <a:gd name="connsiteX20" fmla="*/ 972865 w 8283109"/>
              <a:gd name="connsiteY20" fmla="*/ 3795379 h 6858000"/>
              <a:gd name="connsiteX21" fmla="*/ 973199 w 8283109"/>
              <a:gd name="connsiteY21" fmla="*/ 3796469 h 6858000"/>
              <a:gd name="connsiteX22" fmla="*/ 1125669 w 8283109"/>
              <a:gd name="connsiteY22" fmla="*/ 1692404 h 6858000"/>
              <a:gd name="connsiteX23" fmla="*/ 324860 w 8283109"/>
              <a:gd name="connsiteY23" fmla="*/ 323109 h 6858000"/>
              <a:gd name="connsiteX24" fmla="*/ 0 w 8283109"/>
              <a:gd name="connsiteY24" fmla="*/ 0 h 6858000"/>
              <a:gd name="connsiteX0" fmla="*/ 0 w 8283109"/>
              <a:gd name="connsiteY0" fmla="*/ 0 h 6858000"/>
              <a:gd name="connsiteX1" fmla="*/ 8283109 w 8283109"/>
              <a:gd name="connsiteY1" fmla="*/ 0 h 6858000"/>
              <a:gd name="connsiteX2" fmla="*/ 8283109 w 8283109"/>
              <a:gd name="connsiteY2" fmla="*/ 3214692 h 6858000"/>
              <a:gd name="connsiteX3" fmla="*/ 8191466 w 8283109"/>
              <a:gd name="connsiteY3" fmla="*/ 3222783 h 6858000"/>
              <a:gd name="connsiteX4" fmla="*/ 6074536 w 8283109"/>
              <a:gd name="connsiteY4" fmla="*/ 3856183 h 6858000"/>
              <a:gd name="connsiteX5" fmla="*/ 4331312 w 8283109"/>
              <a:gd name="connsiteY5" fmla="*/ 6770874 h 6858000"/>
              <a:gd name="connsiteX6" fmla="*/ 4312665 w 8283109"/>
              <a:gd name="connsiteY6" fmla="*/ 6858000 h 6858000"/>
              <a:gd name="connsiteX7" fmla="*/ 1099746 w 8283109"/>
              <a:gd name="connsiteY7" fmla="*/ 6858000 h 6858000"/>
              <a:gd name="connsiteX8" fmla="*/ 1159598 w 8283109"/>
              <a:gd name="connsiteY8" fmla="*/ 6573541 h 6858000"/>
              <a:gd name="connsiteX9" fmla="*/ 1201901 w 8283109"/>
              <a:gd name="connsiteY9" fmla="*/ 6274084 h 6858000"/>
              <a:gd name="connsiteX10" fmla="*/ 974469 w 8283109"/>
              <a:gd name="connsiteY10" fmla="*/ 3796469 h 6858000"/>
              <a:gd name="connsiteX11" fmla="*/ 844869 w 8283109"/>
              <a:gd name="connsiteY11" fmla="*/ 4361873 h 6858000"/>
              <a:gd name="connsiteX12" fmla="*/ 550774 w 8283109"/>
              <a:gd name="connsiteY12" fmla="*/ 6451288 h 6858000"/>
              <a:gd name="connsiteX13" fmla="*/ 513510 w 8283109"/>
              <a:gd name="connsiteY13" fmla="*/ 6858000 h 6858000"/>
              <a:gd name="connsiteX14" fmla="*/ 512197 w 8283109"/>
              <a:gd name="connsiteY14" fmla="*/ 6858000 h 6858000"/>
              <a:gd name="connsiteX15" fmla="*/ 549682 w 8283109"/>
              <a:gd name="connsiteY15" fmla="*/ 6449997 h 6858000"/>
              <a:gd name="connsiteX16" fmla="*/ 843601 w 8283109"/>
              <a:gd name="connsiteY16" fmla="*/ 4359333 h 6858000"/>
              <a:gd name="connsiteX17" fmla="*/ 972865 w 8283109"/>
              <a:gd name="connsiteY17" fmla="*/ 3795379 h 6858000"/>
              <a:gd name="connsiteX18" fmla="*/ 973199 w 8283109"/>
              <a:gd name="connsiteY18" fmla="*/ 3796469 h 6858000"/>
              <a:gd name="connsiteX19" fmla="*/ 1125669 w 8283109"/>
              <a:gd name="connsiteY19" fmla="*/ 1692404 h 6858000"/>
              <a:gd name="connsiteX20" fmla="*/ 324860 w 8283109"/>
              <a:gd name="connsiteY20" fmla="*/ 323109 h 6858000"/>
              <a:gd name="connsiteX21" fmla="*/ 0 w 8283109"/>
              <a:gd name="connsiteY21" fmla="*/ 0 h 6858000"/>
              <a:gd name="connsiteX0" fmla="*/ 0 w 8283109"/>
              <a:gd name="connsiteY0" fmla="*/ 0 h 6858000"/>
              <a:gd name="connsiteX1" fmla="*/ 8283109 w 8283109"/>
              <a:gd name="connsiteY1" fmla="*/ 0 h 6858000"/>
              <a:gd name="connsiteX2" fmla="*/ 8283109 w 8283109"/>
              <a:gd name="connsiteY2" fmla="*/ 3214692 h 6858000"/>
              <a:gd name="connsiteX3" fmla="*/ 8191466 w 8283109"/>
              <a:gd name="connsiteY3" fmla="*/ 3222783 h 6858000"/>
              <a:gd name="connsiteX4" fmla="*/ 6074536 w 8283109"/>
              <a:gd name="connsiteY4" fmla="*/ 3856183 h 6858000"/>
              <a:gd name="connsiteX5" fmla="*/ 4331312 w 8283109"/>
              <a:gd name="connsiteY5" fmla="*/ 6770874 h 6858000"/>
              <a:gd name="connsiteX6" fmla="*/ 4312665 w 8283109"/>
              <a:gd name="connsiteY6" fmla="*/ 6858000 h 6858000"/>
              <a:gd name="connsiteX7" fmla="*/ 1099746 w 8283109"/>
              <a:gd name="connsiteY7" fmla="*/ 6858000 h 6858000"/>
              <a:gd name="connsiteX8" fmla="*/ 1159598 w 8283109"/>
              <a:gd name="connsiteY8" fmla="*/ 6573541 h 6858000"/>
              <a:gd name="connsiteX9" fmla="*/ 1201901 w 8283109"/>
              <a:gd name="connsiteY9" fmla="*/ 6274084 h 6858000"/>
              <a:gd name="connsiteX10" fmla="*/ 974469 w 8283109"/>
              <a:gd name="connsiteY10" fmla="*/ 3796469 h 6858000"/>
              <a:gd name="connsiteX11" fmla="*/ 844869 w 8283109"/>
              <a:gd name="connsiteY11" fmla="*/ 4361873 h 6858000"/>
              <a:gd name="connsiteX12" fmla="*/ 550774 w 8283109"/>
              <a:gd name="connsiteY12" fmla="*/ 6451288 h 6858000"/>
              <a:gd name="connsiteX13" fmla="*/ 513510 w 8283109"/>
              <a:gd name="connsiteY13" fmla="*/ 6858000 h 6858000"/>
              <a:gd name="connsiteX14" fmla="*/ 549682 w 8283109"/>
              <a:gd name="connsiteY14" fmla="*/ 6449997 h 6858000"/>
              <a:gd name="connsiteX15" fmla="*/ 843601 w 8283109"/>
              <a:gd name="connsiteY15" fmla="*/ 4359333 h 6858000"/>
              <a:gd name="connsiteX16" fmla="*/ 972865 w 8283109"/>
              <a:gd name="connsiteY16" fmla="*/ 3795379 h 6858000"/>
              <a:gd name="connsiteX17" fmla="*/ 973199 w 8283109"/>
              <a:gd name="connsiteY17" fmla="*/ 3796469 h 6858000"/>
              <a:gd name="connsiteX18" fmla="*/ 1125669 w 8283109"/>
              <a:gd name="connsiteY18" fmla="*/ 1692404 h 6858000"/>
              <a:gd name="connsiteX19" fmla="*/ 324860 w 8283109"/>
              <a:gd name="connsiteY19" fmla="*/ 323109 h 6858000"/>
              <a:gd name="connsiteX20" fmla="*/ 0 w 8283109"/>
              <a:gd name="connsiteY20" fmla="*/ 0 h 6858000"/>
              <a:gd name="connsiteX0" fmla="*/ 0 w 8283109"/>
              <a:gd name="connsiteY0" fmla="*/ 0 h 6858000"/>
              <a:gd name="connsiteX1" fmla="*/ 8283109 w 8283109"/>
              <a:gd name="connsiteY1" fmla="*/ 0 h 6858000"/>
              <a:gd name="connsiteX2" fmla="*/ 8283109 w 8283109"/>
              <a:gd name="connsiteY2" fmla="*/ 3214692 h 6858000"/>
              <a:gd name="connsiteX3" fmla="*/ 8191466 w 8283109"/>
              <a:gd name="connsiteY3" fmla="*/ 3222783 h 6858000"/>
              <a:gd name="connsiteX4" fmla="*/ 6074536 w 8283109"/>
              <a:gd name="connsiteY4" fmla="*/ 3856183 h 6858000"/>
              <a:gd name="connsiteX5" fmla="*/ 4331312 w 8283109"/>
              <a:gd name="connsiteY5" fmla="*/ 6770874 h 6858000"/>
              <a:gd name="connsiteX6" fmla="*/ 4312665 w 8283109"/>
              <a:gd name="connsiteY6" fmla="*/ 6858000 h 6858000"/>
              <a:gd name="connsiteX7" fmla="*/ 1099746 w 8283109"/>
              <a:gd name="connsiteY7" fmla="*/ 6858000 h 6858000"/>
              <a:gd name="connsiteX8" fmla="*/ 1159598 w 8283109"/>
              <a:gd name="connsiteY8" fmla="*/ 6573541 h 6858000"/>
              <a:gd name="connsiteX9" fmla="*/ 1201901 w 8283109"/>
              <a:gd name="connsiteY9" fmla="*/ 6274084 h 6858000"/>
              <a:gd name="connsiteX10" fmla="*/ 974469 w 8283109"/>
              <a:gd name="connsiteY10" fmla="*/ 3796469 h 6858000"/>
              <a:gd name="connsiteX11" fmla="*/ 844869 w 8283109"/>
              <a:gd name="connsiteY11" fmla="*/ 4361873 h 6858000"/>
              <a:gd name="connsiteX12" fmla="*/ 550774 w 8283109"/>
              <a:gd name="connsiteY12" fmla="*/ 6451288 h 6858000"/>
              <a:gd name="connsiteX13" fmla="*/ 549682 w 8283109"/>
              <a:gd name="connsiteY13" fmla="*/ 6449997 h 6858000"/>
              <a:gd name="connsiteX14" fmla="*/ 843601 w 8283109"/>
              <a:gd name="connsiteY14" fmla="*/ 4359333 h 6858000"/>
              <a:gd name="connsiteX15" fmla="*/ 972865 w 8283109"/>
              <a:gd name="connsiteY15" fmla="*/ 3795379 h 6858000"/>
              <a:gd name="connsiteX16" fmla="*/ 973199 w 8283109"/>
              <a:gd name="connsiteY16" fmla="*/ 3796469 h 6858000"/>
              <a:gd name="connsiteX17" fmla="*/ 1125669 w 8283109"/>
              <a:gd name="connsiteY17" fmla="*/ 1692404 h 6858000"/>
              <a:gd name="connsiteX18" fmla="*/ 324860 w 8283109"/>
              <a:gd name="connsiteY18" fmla="*/ 323109 h 6858000"/>
              <a:gd name="connsiteX19" fmla="*/ 0 w 8283109"/>
              <a:gd name="connsiteY19" fmla="*/ 0 h 6858000"/>
              <a:gd name="connsiteX0" fmla="*/ 0 w 8283109"/>
              <a:gd name="connsiteY0" fmla="*/ 0 h 6858000"/>
              <a:gd name="connsiteX1" fmla="*/ 8283109 w 8283109"/>
              <a:gd name="connsiteY1" fmla="*/ 0 h 6858000"/>
              <a:gd name="connsiteX2" fmla="*/ 8283109 w 8283109"/>
              <a:gd name="connsiteY2" fmla="*/ 3214692 h 6858000"/>
              <a:gd name="connsiteX3" fmla="*/ 8191466 w 8283109"/>
              <a:gd name="connsiteY3" fmla="*/ 3222783 h 6858000"/>
              <a:gd name="connsiteX4" fmla="*/ 6074536 w 8283109"/>
              <a:gd name="connsiteY4" fmla="*/ 3856183 h 6858000"/>
              <a:gd name="connsiteX5" fmla="*/ 4331312 w 8283109"/>
              <a:gd name="connsiteY5" fmla="*/ 6770874 h 6858000"/>
              <a:gd name="connsiteX6" fmla="*/ 4312665 w 8283109"/>
              <a:gd name="connsiteY6" fmla="*/ 6858000 h 6858000"/>
              <a:gd name="connsiteX7" fmla="*/ 1099746 w 8283109"/>
              <a:gd name="connsiteY7" fmla="*/ 6858000 h 6858000"/>
              <a:gd name="connsiteX8" fmla="*/ 1159598 w 8283109"/>
              <a:gd name="connsiteY8" fmla="*/ 6573541 h 6858000"/>
              <a:gd name="connsiteX9" fmla="*/ 1201901 w 8283109"/>
              <a:gd name="connsiteY9" fmla="*/ 6274084 h 6858000"/>
              <a:gd name="connsiteX10" fmla="*/ 974469 w 8283109"/>
              <a:gd name="connsiteY10" fmla="*/ 3796469 h 6858000"/>
              <a:gd name="connsiteX11" fmla="*/ 844869 w 8283109"/>
              <a:gd name="connsiteY11" fmla="*/ 4361873 h 6858000"/>
              <a:gd name="connsiteX12" fmla="*/ 550774 w 8283109"/>
              <a:gd name="connsiteY12" fmla="*/ 6451288 h 6858000"/>
              <a:gd name="connsiteX13" fmla="*/ 843601 w 8283109"/>
              <a:gd name="connsiteY13" fmla="*/ 4359333 h 6858000"/>
              <a:gd name="connsiteX14" fmla="*/ 972865 w 8283109"/>
              <a:gd name="connsiteY14" fmla="*/ 3795379 h 6858000"/>
              <a:gd name="connsiteX15" fmla="*/ 973199 w 8283109"/>
              <a:gd name="connsiteY15" fmla="*/ 3796469 h 6858000"/>
              <a:gd name="connsiteX16" fmla="*/ 1125669 w 8283109"/>
              <a:gd name="connsiteY16" fmla="*/ 1692404 h 6858000"/>
              <a:gd name="connsiteX17" fmla="*/ 324860 w 8283109"/>
              <a:gd name="connsiteY17" fmla="*/ 323109 h 6858000"/>
              <a:gd name="connsiteX18" fmla="*/ 0 w 8283109"/>
              <a:gd name="connsiteY18" fmla="*/ 0 h 6858000"/>
              <a:gd name="connsiteX0" fmla="*/ 0 w 8283109"/>
              <a:gd name="connsiteY0" fmla="*/ 0 h 6858000"/>
              <a:gd name="connsiteX1" fmla="*/ 8283109 w 8283109"/>
              <a:gd name="connsiteY1" fmla="*/ 0 h 6858000"/>
              <a:gd name="connsiteX2" fmla="*/ 8283109 w 8283109"/>
              <a:gd name="connsiteY2" fmla="*/ 3214692 h 6858000"/>
              <a:gd name="connsiteX3" fmla="*/ 8191466 w 8283109"/>
              <a:gd name="connsiteY3" fmla="*/ 3222783 h 6858000"/>
              <a:gd name="connsiteX4" fmla="*/ 6074536 w 8283109"/>
              <a:gd name="connsiteY4" fmla="*/ 3856183 h 6858000"/>
              <a:gd name="connsiteX5" fmla="*/ 4331312 w 8283109"/>
              <a:gd name="connsiteY5" fmla="*/ 6770874 h 6858000"/>
              <a:gd name="connsiteX6" fmla="*/ 4312665 w 8283109"/>
              <a:gd name="connsiteY6" fmla="*/ 6858000 h 6858000"/>
              <a:gd name="connsiteX7" fmla="*/ 1099746 w 8283109"/>
              <a:gd name="connsiteY7" fmla="*/ 6858000 h 6858000"/>
              <a:gd name="connsiteX8" fmla="*/ 1159598 w 8283109"/>
              <a:gd name="connsiteY8" fmla="*/ 6573541 h 6858000"/>
              <a:gd name="connsiteX9" fmla="*/ 1201901 w 8283109"/>
              <a:gd name="connsiteY9" fmla="*/ 6274084 h 6858000"/>
              <a:gd name="connsiteX10" fmla="*/ 974469 w 8283109"/>
              <a:gd name="connsiteY10" fmla="*/ 3796469 h 6858000"/>
              <a:gd name="connsiteX11" fmla="*/ 844869 w 8283109"/>
              <a:gd name="connsiteY11" fmla="*/ 4361873 h 6858000"/>
              <a:gd name="connsiteX12" fmla="*/ 843601 w 8283109"/>
              <a:gd name="connsiteY12" fmla="*/ 4359333 h 6858000"/>
              <a:gd name="connsiteX13" fmla="*/ 972865 w 8283109"/>
              <a:gd name="connsiteY13" fmla="*/ 3795379 h 6858000"/>
              <a:gd name="connsiteX14" fmla="*/ 973199 w 8283109"/>
              <a:gd name="connsiteY14" fmla="*/ 3796469 h 6858000"/>
              <a:gd name="connsiteX15" fmla="*/ 1125669 w 8283109"/>
              <a:gd name="connsiteY15" fmla="*/ 1692404 h 6858000"/>
              <a:gd name="connsiteX16" fmla="*/ 324860 w 8283109"/>
              <a:gd name="connsiteY16" fmla="*/ 323109 h 6858000"/>
              <a:gd name="connsiteX17" fmla="*/ 0 w 8283109"/>
              <a:gd name="connsiteY17" fmla="*/ 0 h 6858000"/>
              <a:gd name="connsiteX0" fmla="*/ 0 w 8283109"/>
              <a:gd name="connsiteY0" fmla="*/ 0 h 6858000"/>
              <a:gd name="connsiteX1" fmla="*/ 8283109 w 8283109"/>
              <a:gd name="connsiteY1" fmla="*/ 0 h 6858000"/>
              <a:gd name="connsiteX2" fmla="*/ 8283109 w 8283109"/>
              <a:gd name="connsiteY2" fmla="*/ 3214692 h 6858000"/>
              <a:gd name="connsiteX3" fmla="*/ 8191466 w 8283109"/>
              <a:gd name="connsiteY3" fmla="*/ 3222783 h 6858000"/>
              <a:gd name="connsiteX4" fmla="*/ 6074536 w 8283109"/>
              <a:gd name="connsiteY4" fmla="*/ 3856183 h 6858000"/>
              <a:gd name="connsiteX5" fmla="*/ 4331312 w 8283109"/>
              <a:gd name="connsiteY5" fmla="*/ 6770874 h 6858000"/>
              <a:gd name="connsiteX6" fmla="*/ 4312665 w 8283109"/>
              <a:gd name="connsiteY6" fmla="*/ 6858000 h 6858000"/>
              <a:gd name="connsiteX7" fmla="*/ 1099746 w 8283109"/>
              <a:gd name="connsiteY7" fmla="*/ 6858000 h 6858000"/>
              <a:gd name="connsiteX8" fmla="*/ 1159598 w 8283109"/>
              <a:gd name="connsiteY8" fmla="*/ 6573541 h 6858000"/>
              <a:gd name="connsiteX9" fmla="*/ 1201901 w 8283109"/>
              <a:gd name="connsiteY9" fmla="*/ 6274084 h 6858000"/>
              <a:gd name="connsiteX10" fmla="*/ 974469 w 8283109"/>
              <a:gd name="connsiteY10" fmla="*/ 3796469 h 6858000"/>
              <a:gd name="connsiteX11" fmla="*/ 844869 w 8283109"/>
              <a:gd name="connsiteY11" fmla="*/ 4361873 h 6858000"/>
              <a:gd name="connsiteX12" fmla="*/ 972865 w 8283109"/>
              <a:gd name="connsiteY12" fmla="*/ 3795379 h 6858000"/>
              <a:gd name="connsiteX13" fmla="*/ 973199 w 8283109"/>
              <a:gd name="connsiteY13" fmla="*/ 3796469 h 6858000"/>
              <a:gd name="connsiteX14" fmla="*/ 1125669 w 8283109"/>
              <a:gd name="connsiteY14" fmla="*/ 1692404 h 6858000"/>
              <a:gd name="connsiteX15" fmla="*/ 324860 w 8283109"/>
              <a:gd name="connsiteY15" fmla="*/ 323109 h 6858000"/>
              <a:gd name="connsiteX16" fmla="*/ 0 w 8283109"/>
              <a:gd name="connsiteY16" fmla="*/ 0 h 6858000"/>
              <a:gd name="connsiteX0" fmla="*/ 0 w 8283109"/>
              <a:gd name="connsiteY0" fmla="*/ 0 h 6858000"/>
              <a:gd name="connsiteX1" fmla="*/ 8283109 w 8283109"/>
              <a:gd name="connsiteY1" fmla="*/ 0 h 6858000"/>
              <a:gd name="connsiteX2" fmla="*/ 8283109 w 8283109"/>
              <a:gd name="connsiteY2" fmla="*/ 3214692 h 6858000"/>
              <a:gd name="connsiteX3" fmla="*/ 8191466 w 8283109"/>
              <a:gd name="connsiteY3" fmla="*/ 3222783 h 6858000"/>
              <a:gd name="connsiteX4" fmla="*/ 6074536 w 8283109"/>
              <a:gd name="connsiteY4" fmla="*/ 3856183 h 6858000"/>
              <a:gd name="connsiteX5" fmla="*/ 4331312 w 8283109"/>
              <a:gd name="connsiteY5" fmla="*/ 6770874 h 6858000"/>
              <a:gd name="connsiteX6" fmla="*/ 4312665 w 8283109"/>
              <a:gd name="connsiteY6" fmla="*/ 6858000 h 6858000"/>
              <a:gd name="connsiteX7" fmla="*/ 1099746 w 8283109"/>
              <a:gd name="connsiteY7" fmla="*/ 6858000 h 6858000"/>
              <a:gd name="connsiteX8" fmla="*/ 1159598 w 8283109"/>
              <a:gd name="connsiteY8" fmla="*/ 6573541 h 6858000"/>
              <a:gd name="connsiteX9" fmla="*/ 1201901 w 8283109"/>
              <a:gd name="connsiteY9" fmla="*/ 6274084 h 6858000"/>
              <a:gd name="connsiteX10" fmla="*/ 974469 w 8283109"/>
              <a:gd name="connsiteY10" fmla="*/ 3796469 h 6858000"/>
              <a:gd name="connsiteX11" fmla="*/ 972865 w 8283109"/>
              <a:gd name="connsiteY11" fmla="*/ 3795379 h 6858000"/>
              <a:gd name="connsiteX12" fmla="*/ 973199 w 8283109"/>
              <a:gd name="connsiteY12" fmla="*/ 3796469 h 6858000"/>
              <a:gd name="connsiteX13" fmla="*/ 1125669 w 8283109"/>
              <a:gd name="connsiteY13" fmla="*/ 1692404 h 6858000"/>
              <a:gd name="connsiteX14" fmla="*/ 324860 w 8283109"/>
              <a:gd name="connsiteY14" fmla="*/ 323109 h 6858000"/>
              <a:gd name="connsiteX15" fmla="*/ 0 w 8283109"/>
              <a:gd name="connsiteY15" fmla="*/ 0 h 6858000"/>
              <a:gd name="connsiteX0" fmla="*/ 0 w 8283109"/>
              <a:gd name="connsiteY0" fmla="*/ 0 h 6858000"/>
              <a:gd name="connsiteX1" fmla="*/ 8283109 w 8283109"/>
              <a:gd name="connsiteY1" fmla="*/ 0 h 6858000"/>
              <a:gd name="connsiteX2" fmla="*/ 8283109 w 8283109"/>
              <a:gd name="connsiteY2" fmla="*/ 3214692 h 6858000"/>
              <a:gd name="connsiteX3" fmla="*/ 8191466 w 8283109"/>
              <a:gd name="connsiteY3" fmla="*/ 3222783 h 6858000"/>
              <a:gd name="connsiteX4" fmla="*/ 6074536 w 8283109"/>
              <a:gd name="connsiteY4" fmla="*/ 3856183 h 6858000"/>
              <a:gd name="connsiteX5" fmla="*/ 4331312 w 8283109"/>
              <a:gd name="connsiteY5" fmla="*/ 6770874 h 6858000"/>
              <a:gd name="connsiteX6" fmla="*/ 4312665 w 8283109"/>
              <a:gd name="connsiteY6" fmla="*/ 6858000 h 6858000"/>
              <a:gd name="connsiteX7" fmla="*/ 1099746 w 8283109"/>
              <a:gd name="connsiteY7" fmla="*/ 6858000 h 6858000"/>
              <a:gd name="connsiteX8" fmla="*/ 1159598 w 8283109"/>
              <a:gd name="connsiteY8" fmla="*/ 6573541 h 6858000"/>
              <a:gd name="connsiteX9" fmla="*/ 1201901 w 8283109"/>
              <a:gd name="connsiteY9" fmla="*/ 6274084 h 6858000"/>
              <a:gd name="connsiteX10" fmla="*/ 974469 w 8283109"/>
              <a:gd name="connsiteY10" fmla="*/ 3796469 h 6858000"/>
              <a:gd name="connsiteX11" fmla="*/ 972865 w 8283109"/>
              <a:gd name="connsiteY11" fmla="*/ 3795379 h 6858000"/>
              <a:gd name="connsiteX12" fmla="*/ 973199 w 8283109"/>
              <a:gd name="connsiteY12" fmla="*/ 3796469 h 6858000"/>
              <a:gd name="connsiteX13" fmla="*/ 1125669 w 8283109"/>
              <a:gd name="connsiteY13" fmla="*/ 1692404 h 6858000"/>
              <a:gd name="connsiteX14" fmla="*/ 324860 w 8283109"/>
              <a:gd name="connsiteY14" fmla="*/ 323109 h 6858000"/>
              <a:gd name="connsiteX15" fmla="*/ 0 w 8283109"/>
              <a:gd name="connsiteY1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83109" h="6858000">
                <a:moveTo>
                  <a:pt x="0" y="0"/>
                </a:moveTo>
                <a:lnTo>
                  <a:pt x="8283109" y="0"/>
                </a:lnTo>
                <a:lnTo>
                  <a:pt x="8283109" y="3214692"/>
                </a:lnTo>
                <a:lnTo>
                  <a:pt x="8191466" y="3222783"/>
                </a:lnTo>
                <a:cubicBezTo>
                  <a:pt x="7450802" y="3298482"/>
                  <a:pt x="6727291" y="3445471"/>
                  <a:pt x="6074536" y="3856183"/>
                </a:cubicBezTo>
                <a:cubicBezTo>
                  <a:pt x="5045372" y="4504175"/>
                  <a:pt x="4587968" y="5631172"/>
                  <a:pt x="4331312" y="6770874"/>
                </a:cubicBezTo>
                <a:lnTo>
                  <a:pt x="4312665" y="6858000"/>
                </a:lnTo>
                <a:lnTo>
                  <a:pt x="1099746" y="6858000"/>
                </a:lnTo>
                <a:lnTo>
                  <a:pt x="1159598" y="6573541"/>
                </a:lnTo>
                <a:cubicBezTo>
                  <a:pt x="1176807" y="6475529"/>
                  <a:pt x="1190942" y="6375729"/>
                  <a:pt x="1201901" y="6274084"/>
                </a:cubicBezTo>
                <a:cubicBezTo>
                  <a:pt x="1289569" y="5443130"/>
                  <a:pt x="1203173" y="4598200"/>
                  <a:pt x="974469" y="3796469"/>
                </a:cubicBezTo>
                <a:lnTo>
                  <a:pt x="972865" y="3795379"/>
                </a:lnTo>
                <a:lnTo>
                  <a:pt x="973199" y="3796469"/>
                </a:lnTo>
                <a:cubicBezTo>
                  <a:pt x="1138373" y="3102739"/>
                  <a:pt x="1299737" y="2393758"/>
                  <a:pt x="1125669" y="1692404"/>
                </a:cubicBezTo>
                <a:cubicBezTo>
                  <a:pt x="998094" y="1172104"/>
                  <a:pt x="695966" y="725129"/>
                  <a:pt x="324860" y="323109"/>
                </a:cubicBezTo>
                <a:lnTo>
                  <a:pt x="0" y="0"/>
                </a:lnTo>
                <a:close/>
              </a:path>
            </a:pathLst>
          </a:custGeom>
          <a:solidFill>
            <a:schemeClr val="bg1">
              <a:lumMod val="85000"/>
            </a:schemeClr>
          </a:solidFill>
        </p:spPr>
        <p:txBody>
          <a:bodyPr wrap="square" tIns="360000" rIns="1296000" bIns="0">
            <a:noAutofit/>
          </a:bodyPr>
          <a:lstStyle>
            <a:lvl1pPr algn="r">
              <a:defRPr sz="1400"/>
            </a:lvl1pPr>
          </a:lstStyle>
          <a:p>
            <a:r>
              <a:rPr lang="nl-NL" noProof="0" dirty="0"/>
              <a:t>Invoegen beeld</a:t>
            </a:r>
          </a:p>
        </p:txBody>
      </p:sp>
      <p:pic>
        <p:nvPicPr>
          <p:cNvPr id="35" name="Picture 34">
            <a:extLst>
              <a:ext uri="{FF2B5EF4-FFF2-40B4-BE49-F238E27FC236}">
                <a16:creationId xmlns:a16="http://schemas.microsoft.com/office/drawing/2014/main" id="{240C3D6B-231A-4F25-B4FC-D13F677232D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47B15AD-B53C-4624-860D-B61447BA75E3}"/>
              </a:ext>
            </a:extLst>
          </p:cNvPr>
          <p:cNvSpPr>
            <a:spLocks noGrp="1"/>
          </p:cNvSpPr>
          <p:nvPr>
            <p:ph type="title"/>
          </p:nvPr>
        </p:nvSpPr>
        <p:spPr>
          <a:xfrm>
            <a:off x="894132" y="2977346"/>
            <a:ext cx="5396605" cy="615553"/>
          </a:xfrm>
        </p:spPr>
        <p:txBody>
          <a:bodyPr vert="horz" anchor="ctr"/>
          <a:lstStyle>
            <a:lvl1pPr algn="l">
              <a:lnSpc>
                <a:spcPct val="100000"/>
              </a:lnSpc>
              <a:defRPr sz="4000" spc="0" baseline="0"/>
            </a:lvl1pPr>
          </a:lstStyle>
          <a:p>
            <a:endParaRPr lang="en-US" dirty="0"/>
          </a:p>
        </p:txBody>
      </p:sp>
      <p:pic>
        <p:nvPicPr>
          <p:cNvPr id="79" name="Picture 78">
            <a:extLst>
              <a:ext uri="{FF2B5EF4-FFF2-40B4-BE49-F238E27FC236}">
                <a16:creationId xmlns:a16="http://schemas.microsoft.com/office/drawing/2014/main" id="{CAAE28F7-9D39-49CA-BAE3-1C723317A37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048534" y="5707099"/>
            <a:ext cx="698421" cy="699880"/>
          </a:xfrm>
          <a:prstGeom prst="rect">
            <a:avLst/>
          </a:prstGeom>
        </p:spPr>
      </p:pic>
      <p:sp>
        <p:nvSpPr>
          <p:cNvPr id="16" name="Slide Number Placeholder 5">
            <a:extLst>
              <a:ext uri="{FF2B5EF4-FFF2-40B4-BE49-F238E27FC236}">
                <a16:creationId xmlns:a16="http://schemas.microsoft.com/office/drawing/2014/main" id="{20F2E745-1CCB-4A14-8ADF-2FB09349C872}"/>
              </a:ext>
            </a:extLst>
          </p:cNvPr>
          <p:cNvSpPr>
            <a:spLocks noGrp="1"/>
          </p:cNvSpPr>
          <p:nvPr>
            <p:ph type="sldNum" sz="quarter" idx="4"/>
          </p:nvPr>
        </p:nvSpPr>
        <p:spPr>
          <a:xfrm>
            <a:off x="361178" y="6246000"/>
            <a:ext cx="398364" cy="153888"/>
          </a:xfrm>
          <a:prstGeom prst="rect">
            <a:avLst/>
          </a:prstGeom>
        </p:spPr>
        <p:txBody>
          <a:bodyPr vert="horz" wrap="square" lIns="0" tIns="0" rIns="0" bIns="0" rtlCol="0" anchor="ctr">
            <a:spAutoFit/>
          </a:bodyPr>
          <a:lstStyle>
            <a:lvl1pPr algn="l">
              <a:defRPr sz="1000">
                <a:solidFill>
                  <a:schemeClr val="tx2"/>
                </a:solidFill>
              </a:defRPr>
            </a:lvl1pPr>
          </a:lstStyle>
          <a:p>
            <a:fld id="{01ED78C3-3A94-496B-9AE8-73034C580365}" type="slidenum">
              <a:rPr lang="en-US" smtClean="0"/>
              <a:pPr/>
              <a:t>‹#›</a:t>
            </a:fld>
            <a:endParaRPr lang="en-US"/>
          </a:p>
        </p:txBody>
      </p:sp>
    </p:spTree>
    <p:extLst>
      <p:ext uri="{BB962C8B-B14F-4D97-AF65-F5344CB8AC3E}">
        <p14:creationId xmlns:p14="http://schemas.microsoft.com/office/powerpoint/2010/main" val="39853910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6870F4-5481-49EA-99D2-72E31453D634}"/>
              </a:ext>
            </a:extLst>
          </p:cNvPr>
          <p:cNvGraphicFramePr>
            <a:graphicFrameLocks noChangeAspect="1"/>
          </p:cNvGraphicFramePr>
          <p:nvPr userDrawn="1">
            <p:custDataLst>
              <p:tags r:id="rId19"/>
            </p:custDataLst>
            <p:extLst>
              <p:ext uri="{D42A27DB-BD31-4B8C-83A1-F6EECF244321}">
                <p14:modId xmlns:p14="http://schemas.microsoft.com/office/powerpoint/2010/main" val="3152088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29" imgH="429" progId="TCLayout.ActiveDocument.1">
                  <p:embed/>
                </p:oleObj>
              </mc:Choice>
              <mc:Fallback>
                <p:oleObj name="think-cell Slide" r:id="rId20" imgW="429" imgH="429" progId="TCLayout.ActiveDocument.1">
                  <p:embed/>
                  <p:pic>
                    <p:nvPicPr>
                      <p:cNvPr id="6" name="Object 5" hidden="1">
                        <a:extLst>
                          <a:ext uri="{FF2B5EF4-FFF2-40B4-BE49-F238E27FC236}">
                            <a16:creationId xmlns:a16="http://schemas.microsoft.com/office/drawing/2014/main" id="{0E6870F4-5481-49EA-99D2-72E31453D634}"/>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6A1D868-74B3-43DC-9C3C-7DAE95129307}"/>
              </a:ext>
            </a:extLst>
          </p:cNvPr>
          <p:cNvSpPr>
            <a:spLocks noGrp="1"/>
          </p:cNvSpPr>
          <p:nvPr>
            <p:ph type="title"/>
          </p:nvPr>
        </p:nvSpPr>
        <p:spPr>
          <a:xfrm>
            <a:off x="902599" y="360000"/>
            <a:ext cx="10386802" cy="443198"/>
          </a:xfrm>
          <a:prstGeom prst="rect">
            <a:avLst/>
          </a:prstGeom>
        </p:spPr>
        <p:txBody>
          <a:bodyPr vert="horz" wrap="square" lIns="0" tIns="0" rIns="0" bIns="0" rtlCol="0" anchor="t">
            <a:spAutoFit/>
          </a:bodyPr>
          <a:lstStyle/>
          <a:p>
            <a:r>
              <a:rPr lang="nl-NL" noProof="0"/>
              <a:t>Click to edit Master title style</a:t>
            </a:r>
          </a:p>
        </p:txBody>
      </p:sp>
      <p:sp>
        <p:nvSpPr>
          <p:cNvPr id="3" name="Text Placeholder 2">
            <a:extLst>
              <a:ext uri="{FF2B5EF4-FFF2-40B4-BE49-F238E27FC236}">
                <a16:creationId xmlns:a16="http://schemas.microsoft.com/office/drawing/2014/main" id="{97BB5C1E-E77F-4533-982B-ADE68152D996}"/>
              </a:ext>
            </a:extLst>
          </p:cNvPr>
          <p:cNvSpPr>
            <a:spLocks noGrp="1"/>
          </p:cNvSpPr>
          <p:nvPr>
            <p:ph type="body" idx="1"/>
          </p:nvPr>
        </p:nvSpPr>
        <p:spPr>
          <a:xfrm>
            <a:off x="902599" y="1800000"/>
            <a:ext cx="10386802" cy="1569660"/>
          </a:xfrm>
          <a:prstGeom prst="rect">
            <a:avLst/>
          </a:prstGeom>
          <a:noFill/>
        </p:spPr>
        <p:txBody>
          <a:bodyPr vert="horz" wrap="square" lIns="0" tIns="0" rIns="0" bIns="0" rtlCol="0">
            <a:spAutoFit/>
          </a:bodyPr>
          <a:lstStyle/>
          <a:p>
            <a:pPr lvl="0"/>
            <a:r>
              <a:rPr lang="nl-NL" noProof="0" dirty="0"/>
              <a:t>Click </a:t>
            </a:r>
            <a:r>
              <a:rPr lang="nl-NL" noProof="0" dirty="0" err="1"/>
              <a:t>to</a:t>
            </a:r>
            <a:r>
              <a:rPr lang="nl-NL" noProof="0" dirty="0"/>
              <a:t> </a:t>
            </a:r>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a:p>
            <a:pPr lvl="1"/>
            <a:r>
              <a:rPr lang="nl-NL" noProof="0" dirty="0"/>
              <a:t>Second level</a:t>
            </a:r>
          </a:p>
          <a:p>
            <a:pPr lvl="2"/>
            <a:r>
              <a:rPr lang="nl-NL" noProof="0" dirty="0" err="1"/>
              <a:t>Third</a:t>
            </a:r>
            <a:r>
              <a:rPr lang="nl-NL" noProof="0" dirty="0"/>
              <a:t> level</a:t>
            </a:r>
          </a:p>
          <a:p>
            <a:pPr lvl="3"/>
            <a:r>
              <a:rPr lang="nl-NL" noProof="0" dirty="0" err="1"/>
              <a:t>Fourth</a:t>
            </a:r>
            <a:r>
              <a:rPr lang="nl-NL" noProof="0" dirty="0"/>
              <a:t> level</a:t>
            </a:r>
          </a:p>
          <a:p>
            <a:pPr lvl="4"/>
            <a:r>
              <a:rPr lang="nl-NL" noProof="0" dirty="0" err="1"/>
              <a:t>Fifth</a:t>
            </a:r>
            <a:r>
              <a:rPr lang="nl-NL" noProof="0" dirty="0"/>
              <a:t> level</a:t>
            </a:r>
          </a:p>
        </p:txBody>
      </p:sp>
      <p:sp>
        <p:nvSpPr>
          <p:cNvPr id="11" name="Slide Number Placeholder 5">
            <a:extLst>
              <a:ext uri="{FF2B5EF4-FFF2-40B4-BE49-F238E27FC236}">
                <a16:creationId xmlns:a16="http://schemas.microsoft.com/office/drawing/2014/main" id="{A7E8CC8D-DF46-4B9F-A015-5F722E9DBE49}"/>
              </a:ext>
            </a:extLst>
          </p:cNvPr>
          <p:cNvSpPr>
            <a:spLocks noGrp="1"/>
          </p:cNvSpPr>
          <p:nvPr>
            <p:ph type="sldNum" sz="quarter" idx="4"/>
          </p:nvPr>
        </p:nvSpPr>
        <p:spPr>
          <a:xfrm>
            <a:off x="361178" y="6245396"/>
            <a:ext cx="398364" cy="153888"/>
          </a:xfrm>
          <a:prstGeom prst="rect">
            <a:avLst/>
          </a:prstGeom>
        </p:spPr>
        <p:txBody>
          <a:bodyPr vert="horz" wrap="square" lIns="0" tIns="0" rIns="0" bIns="0" rtlCol="0" anchor="ctr">
            <a:spAutoFit/>
          </a:bodyPr>
          <a:lstStyle>
            <a:lvl1pPr algn="l">
              <a:defRPr sz="1000">
                <a:solidFill>
                  <a:schemeClr val="tx2"/>
                </a:solidFill>
              </a:defRPr>
            </a:lvl1pPr>
          </a:lstStyle>
          <a:p>
            <a:fld id="{01ED78C3-3A94-496B-9AE8-73034C580365}" type="slidenum">
              <a:rPr lang="en-US" smtClean="0"/>
              <a:pPr/>
              <a:t>‹#›</a:t>
            </a:fld>
            <a:endParaRPr lang="en-US"/>
          </a:p>
        </p:txBody>
      </p:sp>
      <p:pic>
        <p:nvPicPr>
          <p:cNvPr id="12" name="Picture 11">
            <a:extLst>
              <a:ext uri="{FF2B5EF4-FFF2-40B4-BE49-F238E27FC236}">
                <a16:creationId xmlns:a16="http://schemas.microsoft.com/office/drawing/2014/main" id="{FDBA9DF9-6BB9-47A7-A256-6DAD4884EF25}"/>
              </a:ext>
            </a:extLst>
          </p:cNvPr>
          <p:cNvPicPr>
            <a:picLocks noChangeAspect="1"/>
          </p:cNvPicPr>
          <p:nvPr userDrawn="1"/>
        </p:nvPicPr>
        <p:blipFill>
          <a:blip r:embed="rId22">
            <a:extLst>
              <a:ext uri="{28A0092B-C50C-407E-A947-70E740481C1C}">
                <a14:useLocalDpi xmlns:a14="http://schemas.microsoft.com/office/drawing/2010/main" val="0"/>
              </a:ext>
            </a:extLst>
          </a:blip>
          <a:srcRect/>
          <a:stretch/>
        </p:blipFill>
        <p:spPr>
          <a:xfrm>
            <a:off x="11048534" y="5707099"/>
            <a:ext cx="698421" cy="699880"/>
          </a:xfrm>
          <a:prstGeom prst="rect">
            <a:avLst/>
          </a:prstGeom>
        </p:spPr>
      </p:pic>
    </p:spTree>
    <p:extLst>
      <p:ext uri="{BB962C8B-B14F-4D97-AF65-F5344CB8AC3E}">
        <p14:creationId xmlns:p14="http://schemas.microsoft.com/office/powerpoint/2010/main" val="1874097871"/>
      </p:ext>
    </p:extLst>
  </p:cSld>
  <p:clrMap bg1="lt1" tx1="dk1" bg2="lt2" tx2="dk2" accent1="accent1" accent2="accent2" accent3="accent3" accent4="accent4" accent5="accent5" accent6="accent6" hlink="hlink" folHlink="folHlink"/>
  <p:sldLayoutIdLst>
    <p:sldLayoutId id="2147483695" r:id="rId1"/>
    <p:sldLayoutId id="2147483661" r:id="rId2"/>
    <p:sldLayoutId id="2147483705" r:id="rId3"/>
    <p:sldLayoutId id="2147483715" r:id="rId4"/>
    <p:sldLayoutId id="2147483663" r:id="rId5"/>
    <p:sldLayoutId id="2147483708" r:id="rId6"/>
    <p:sldLayoutId id="2147483709" r:id="rId7"/>
    <p:sldLayoutId id="2147483710" r:id="rId8"/>
    <p:sldLayoutId id="2147483711" r:id="rId9"/>
    <p:sldLayoutId id="2147483707" r:id="rId10"/>
    <p:sldLayoutId id="2147483652" r:id="rId11"/>
    <p:sldLayoutId id="2147483669" r:id="rId12"/>
    <p:sldLayoutId id="2147483664" r:id="rId13"/>
    <p:sldLayoutId id="2147483688" r:id="rId14"/>
    <p:sldLayoutId id="2147483692" r:id="rId15"/>
    <p:sldLayoutId id="2147483693" r:id="rId16"/>
    <p:sldLayoutId id="2147483680" r:id="rId17"/>
  </p:sldLayoutIdLst>
  <p:hf hdr="0" ftr="0" dt="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300"/>
        </a:spcAft>
        <a:buFontTx/>
        <a:buNone/>
        <a:defRPr sz="2000" kern="1200">
          <a:solidFill>
            <a:schemeClr val="tx1"/>
          </a:solidFill>
          <a:latin typeface="+mn-lt"/>
          <a:ea typeface="+mn-ea"/>
          <a:cs typeface="+mn-cs"/>
        </a:defRPr>
      </a:lvl1pPr>
      <a:lvl2pPr marL="265113" indent="-26511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2pPr>
      <a:lvl3pPr marL="541338" indent="-276225"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tx1"/>
          </a:solidFill>
          <a:latin typeface="+mn-lt"/>
          <a:ea typeface="+mn-ea"/>
          <a:cs typeface="+mn-cs"/>
        </a:defRPr>
      </a:lvl3pPr>
      <a:lvl4pPr marL="806450" indent="-265113"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tx1"/>
          </a:solidFill>
          <a:latin typeface="+mn-lt"/>
          <a:ea typeface="+mn-ea"/>
          <a:cs typeface="+mn-cs"/>
        </a:defRPr>
      </a:lvl4pPr>
      <a:lvl5pPr marL="1071563" indent="-265113"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F26B43"/>
          </p15:clr>
        </p15:guide>
        <p15:guide id="2" pos="735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hyperlink" Target="https://apps.who.int/iris/rest/bitstreams/1151838/retrieve" TargetMode="External"/><Relationship Id="rId7" Type="http://schemas.openxmlformats.org/officeDocument/2006/relationships/hyperlink" Target="https://doi.org/10.1177/1455072518766129" TargetMode="External"/><Relationship Id="rId2" Type="http://schemas.openxmlformats.org/officeDocument/2006/relationships/notesSlide" Target="../notesSlides/notesSlide15.xml"/><Relationship Id="rId1" Type="http://schemas.openxmlformats.org/officeDocument/2006/relationships/slideLayout" Target="../slideLayouts/slideLayout17.xml"/><Relationship Id="rId6" Type="http://schemas.openxmlformats.org/officeDocument/2006/relationships/hyperlink" Target="https://doi.org/10.1080/09687637.2019.1705762" TargetMode="External"/><Relationship Id="rId5" Type="http://schemas.openxmlformats.org/officeDocument/2006/relationships/hyperlink" Target="https://doi.org/10.1186/s13011-017-0102-9" TargetMode="External"/><Relationship Id="rId4" Type="http://schemas.openxmlformats.org/officeDocument/2006/relationships/hyperlink" Target="https://doi.org/10.3109/09687630902824262"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doi.org/10.5152/ADDICTA.2020.20074" TargetMode="External"/><Relationship Id="rId2" Type="http://schemas.openxmlformats.org/officeDocument/2006/relationships/notesSlide" Target="../notesSlides/notesSlide16.xml"/><Relationship Id="rId1" Type="http://schemas.openxmlformats.org/officeDocument/2006/relationships/slideLayout" Target="../slideLayouts/slideLayout17.xml"/><Relationship Id="rId5" Type="http://schemas.openxmlformats.org/officeDocument/2006/relationships/hyperlink" Target="https://doi.org/10.1080/14459795.2017.1331251" TargetMode="External"/><Relationship Id="rId4" Type="http://schemas.openxmlformats.org/officeDocument/2006/relationships/hyperlink" Target="https://doi.org/10.3390/ijerph18041793A"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image" Target="../media/image18.sv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1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Tijdelijke aanduiding voor afbeelding 6" descr="Afbeelding met brug, water, rivier, buiten&#10;&#10;Automatisch gegenereerde beschrijving">
            <a:extLst>
              <a:ext uri="{FF2B5EF4-FFF2-40B4-BE49-F238E27FC236}">
                <a16:creationId xmlns:a16="http://schemas.microsoft.com/office/drawing/2014/main" id="{A14238BC-0DA5-43C8-8FAC-225FE140689B}"/>
              </a:ext>
            </a:extLst>
          </p:cNvPr>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t="6085" b="6085"/>
          <a:stretch>
            <a:fillRect/>
          </a:stretch>
        </p:blipFill>
        <p:spPr>
          <a:xfrm>
            <a:off x="0" y="391292"/>
            <a:ext cx="11046723" cy="6466708"/>
          </a:xfrm>
        </p:spPr>
      </p:pic>
      <p:sp>
        <p:nvSpPr>
          <p:cNvPr id="3" name="Tijdelijke aanduiding voor tekst 2">
            <a:extLst>
              <a:ext uri="{FF2B5EF4-FFF2-40B4-BE49-F238E27FC236}">
                <a16:creationId xmlns:a16="http://schemas.microsoft.com/office/drawing/2014/main" id="{EFF4FBFC-3918-4006-9B3E-8CA24E5E4149}"/>
              </a:ext>
            </a:extLst>
          </p:cNvPr>
          <p:cNvSpPr>
            <a:spLocks noGrp="1"/>
          </p:cNvSpPr>
          <p:nvPr>
            <p:ph type="body" sz="quarter" idx="15"/>
          </p:nvPr>
        </p:nvSpPr>
        <p:spPr>
          <a:xfrm>
            <a:off x="884706" y="5944800"/>
            <a:ext cx="5978060" cy="246221"/>
          </a:xfrm>
        </p:spPr>
        <p:txBody>
          <a:bodyPr/>
          <a:lstStyle/>
          <a:p>
            <a:r>
              <a:rPr lang="nl-NL" dirty="0"/>
              <a:t>Max van Beek, MSc</a:t>
            </a:r>
          </a:p>
        </p:txBody>
      </p:sp>
      <p:sp>
        <p:nvSpPr>
          <p:cNvPr id="4" name="Titel 3">
            <a:extLst>
              <a:ext uri="{FF2B5EF4-FFF2-40B4-BE49-F238E27FC236}">
                <a16:creationId xmlns:a16="http://schemas.microsoft.com/office/drawing/2014/main" id="{D375E755-83F1-4D11-9FCE-DD3A8D2947A2}"/>
              </a:ext>
            </a:extLst>
          </p:cNvPr>
          <p:cNvSpPr>
            <a:spLocks noGrp="1"/>
          </p:cNvSpPr>
          <p:nvPr>
            <p:ph type="ctrTitle"/>
          </p:nvPr>
        </p:nvSpPr>
        <p:spPr>
          <a:xfrm>
            <a:off x="884706" y="993200"/>
            <a:ext cx="6508781" cy="1107996"/>
          </a:xfrm>
          <a:prstGeom prst="rect">
            <a:avLst/>
          </a:prstGeom>
        </p:spPr>
        <p:txBody>
          <a:bodyPr/>
          <a:lstStyle/>
          <a:p>
            <a:r>
              <a:rPr lang="en-US" sz="2000" dirty="0">
                <a:latin typeface="Calibri" panose="020F0502020204030204" pitchFamily="34" charset="0"/>
                <a:cs typeface="Calibri" panose="020F0502020204030204" pitchFamily="34" charset="0"/>
              </a:rPr>
              <a:t>Helping family members affected by a relative’s substance use or gambling: an evaluation study of the 5-Step Method delivered in the Netherlands</a:t>
            </a:r>
            <a:br>
              <a:rPr lang="en-US" sz="2000" dirty="0">
                <a:latin typeface="Calibri" panose="020F0502020204030204" pitchFamily="34" charset="0"/>
                <a:cs typeface="Calibri" panose="020F0502020204030204" pitchFamily="34" charset="0"/>
              </a:rPr>
            </a:br>
            <a:r>
              <a:rPr lang="en-US" sz="2000" dirty="0">
                <a:latin typeface="Calibri" panose="020F0502020204030204" pitchFamily="34" charset="0"/>
                <a:cs typeface="Calibri" panose="020F0502020204030204" pitchFamily="34" charset="0"/>
              </a:rPr>
              <a:t> </a:t>
            </a:r>
            <a:endParaRPr lang="nl-NL" sz="2000" dirty="0"/>
          </a:p>
        </p:txBody>
      </p:sp>
      <p:pic>
        <p:nvPicPr>
          <p:cNvPr id="8" name="Afbeelding 7">
            <a:extLst>
              <a:ext uri="{FF2B5EF4-FFF2-40B4-BE49-F238E27FC236}">
                <a16:creationId xmlns:a16="http://schemas.microsoft.com/office/drawing/2014/main" id="{2A153450-2D9A-458D-A080-4F9ADB9FD8A0}"/>
              </a:ext>
            </a:extLst>
          </p:cNvPr>
          <p:cNvPicPr>
            <a:picLocks noChangeAspect="1"/>
          </p:cNvPicPr>
          <p:nvPr/>
        </p:nvPicPr>
        <p:blipFill rotWithShape="1">
          <a:blip r:embed="rId4">
            <a:extLst>
              <a:ext uri="{28A0092B-C50C-407E-A947-70E740481C1C}">
                <a14:useLocalDpi xmlns:a14="http://schemas.microsoft.com/office/drawing/2010/main" val="0"/>
              </a:ext>
            </a:extLst>
          </a:blip>
          <a:srcRect t="-1" r="54509" b="-34"/>
          <a:stretch/>
        </p:blipFill>
        <p:spPr>
          <a:xfrm>
            <a:off x="10820362" y="6067911"/>
            <a:ext cx="957676" cy="662713"/>
          </a:xfrm>
          <a:prstGeom prst="rect">
            <a:avLst/>
          </a:prstGeom>
        </p:spPr>
      </p:pic>
    </p:spTree>
    <p:extLst>
      <p:ext uri="{BB962C8B-B14F-4D97-AF65-F5344CB8AC3E}">
        <p14:creationId xmlns:p14="http://schemas.microsoft.com/office/powerpoint/2010/main" val="27584509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5478B2C3-D4BF-01A7-8990-3B869135F535}"/>
              </a:ext>
            </a:extLst>
          </p:cNvPr>
          <p:cNvSpPr>
            <a:spLocks noGrp="1"/>
          </p:cNvSpPr>
          <p:nvPr>
            <p:ph idx="1"/>
          </p:nvPr>
        </p:nvSpPr>
        <p:spPr/>
        <p:txBody>
          <a:bodyPr/>
          <a:lstStyle/>
          <a:p>
            <a:r>
              <a:rPr lang="en-US" i="1" dirty="0"/>
              <a:t>‘I never regretted participating in this training. The stories of others, the tips, information, insights, I didn't want to miss it and can continue moving forward with this input for a long time. Thanks!’</a:t>
            </a:r>
          </a:p>
          <a:p>
            <a:endParaRPr lang="nl-NL" dirty="0"/>
          </a:p>
        </p:txBody>
      </p:sp>
      <p:sp>
        <p:nvSpPr>
          <p:cNvPr id="3" name="Titel 2">
            <a:extLst>
              <a:ext uri="{FF2B5EF4-FFF2-40B4-BE49-F238E27FC236}">
                <a16:creationId xmlns:a16="http://schemas.microsoft.com/office/drawing/2014/main" id="{7CE6EA56-34F2-0419-D9DE-DEC74007AE22}"/>
              </a:ext>
            </a:extLst>
          </p:cNvPr>
          <p:cNvSpPr>
            <a:spLocks noGrp="1"/>
          </p:cNvSpPr>
          <p:nvPr>
            <p:ph type="title"/>
          </p:nvPr>
        </p:nvSpPr>
        <p:spPr/>
        <p:txBody>
          <a:bodyPr/>
          <a:lstStyle/>
          <a:p>
            <a:r>
              <a:rPr lang="nl-NL" dirty="0"/>
              <a:t>Quotes of </a:t>
            </a:r>
            <a:r>
              <a:rPr lang="nl-NL" dirty="0" err="1"/>
              <a:t>anonymous</a:t>
            </a:r>
            <a:r>
              <a:rPr lang="nl-NL" dirty="0"/>
              <a:t> </a:t>
            </a:r>
            <a:r>
              <a:rPr lang="nl-NL" dirty="0" err="1"/>
              <a:t>participants</a:t>
            </a:r>
            <a:endParaRPr lang="nl-NL" dirty="0"/>
          </a:p>
        </p:txBody>
      </p:sp>
      <p:sp>
        <p:nvSpPr>
          <p:cNvPr id="4" name="Tijdelijke aanduiding voor dianummer 3">
            <a:extLst>
              <a:ext uri="{FF2B5EF4-FFF2-40B4-BE49-F238E27FC236}">
                <a16:creationId xmlns:a16="http://schemas.microsoft.com/office/drawing/2014/main" id="{D7B6BE90-D80F-E813-352C-81116EE17AB6}"/>
              </a:ext>
            </a:extLst>
          </p:cNvPr>
          <p:cNvSpPr>
            <a:spLocks noGrp="1"/>
          </p:cNvSpPr>
          <p:nvPr>
            <p:ph type="sldNum" sz="quarter" idx="4"/>
          </p:nvPr>
        </p:nvSpPr>
        <p:spPr/>
        <p:txBody>
          <a:bodyPr/>
          <a:lstStyle/>
          <a:p>
            <a:fld id="{01ED78C3-3A94-496B-9AE8-73034C580365}" type="slidenum">
              <a:rPr lang="en-US" smtClean="0"/>
              <a:pPr/>
              <a:t>10</a:t>
            </a:fld>
            <a:endParaRPr lang="en-US"/>
          </a:p>
        </p:txBody>
      </p:sp>
    </p:spTree>
    <p:extLst>
      <p:ext uri="{BB962C8B-B14F-4D97-AF65-F5344CB8AC3E}">
        <p14:creationId xmlns:p14="http://schemas.microsoft.com/office/powerpoint/2010/main" val="31436041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5478B2C3-D4BF-01A7-8990-3B869135F535}"/>
              </a:ext>
            </a:extLst>
          </p:cNvPr>
          <p:cNvSpPr>
            <a:spLocks noGrp="1"/>
          </p:cNvSpPr>
          <p:nvPr>
            <p:ph idx="1"/>
          </p:nvPr>
        </p:nvSpPr>
        <p:spPr/>
        <p:txBody>
          <a:bodyPr/>
          <a:lstStyle/>
          <a:p>
            <a:pPr marL="0" indent="0">
              <a:buNone/>
            </a:pPr>
            <a:r>
              <a:rPr lang="en-US" i="1"/>
              <a:t>‘No additional tips, I am very grateful for the training! Especially the feeling of connectiveness with other group members and the feeling of being able to finally speak freely’</a:t>
            </a:r>
            <a:endParaRPr lang="nl-NL" sz="1800" i="1">
              <a:cs typeface="Calibri"/>
            </a:endParaRPr>
          </a:p>
          <a:p>
            <a:endParaRPr lang="nl-NL" dirty="0"/>
          </a:p>
        </p:txBody>
      </p:sp>
      <p:sp>
        <p:nvSpPr>
          <p:cNvPr id="3" name="Titel 2">
            <a:extLst>
              <a:ext uri="{FF2B5EF4-FFF2-40B4-BE49-F238E27FC236}">
                <a16:creationId xmlns:a16="http://schemas.microsoft.com/office/drawing/2014/main" id="{7CE6EA56-34F2-0419-D9DE-DEC74007AE22}"/>
              </a:ext>
            </a:extLst>
          </p:cNvPr>
          <p:cNvSpPr>
            <a:spLocks noGrp="1"/>
          </p:cNvSpPr>
          <p:nvPr>
            <p:ph type="title"/>
          </p:nvPr>
        </p:nvSpPr>
        <p:spPr/>
        <p:txBody>
          <a:bodyPr/>
          <a:lstStyle/>
          <a:p>
            <a:r>
              <a:rPr lang="nl-NL" dirty="0"/>
              <a:t>Quotes of </a:t>
            </a:r>
            <a:r>
              <a:rPr lang="nl-NL" dirty="0" err="1"/>
              <a:t>anonymous</a:t>
            </a:r>
            <a:r>
              <a:rPr lang="nl-NL" dirty="0"/>
              <a:t> </a:t>
            </a:r>
            <a:r>
              <a:rPr lang="nl-NL" dirty="0" err="1"/>
              <a:t>participants</a:t>
            </a:r>
            <a:endParaRPr lang="nl-NL" dirty="0"/>
          </a:p>
        </p:txBody>
      </p:sp>
      <p:sp>
        <p:nvSpPr>
          <p:cNvPr id="4" name="Tijdelijke aanduiding voor dianummer 3">
            <a:extLst>
              <a:ext uri="{FF2B5EF4-FFF2-40B4-BE49-F238E27FC236}">
                <a16:creationId xmlns:a16="http://schemas.microsoft.com/office/drawing/2014/main" id="{D7B6BE90-D80F-E813-352C-81116EE17AB6}"/>
              </a:ext>
            </a:extLst>
          </p:cNvPr>
          <p:cNvSpPr>
            <a:spLocks noGrp="1"/>
          </p:cNvSpPr>
          <p:nvPr>
            <p:ph type="sldNum" sz="quarter" idx="4"/>
          </p:nvPr>
        </p:nvSpPr>
        <p:spPr/>
        <p:txBody>
          <a:bodyPr/>
          <a:lstStyle/>
          <a:p>
            <a:fld id="{01ED78C3-3A94-496B-9AE8-73034C580365}" type="slidenum">
              <a:rPr lang="en-US" smtClean="0"/>
              <a:pPr/>
              <a:t>11</a:t>
            </a:fld>
            <a:endParaRPr lang="en-US"/>
          </a:p>
        </p:txBody>
      </p:sp>
    </p:spTree>
    <p:extLst>
      <p:ext uri="{BB962C8B-B14F-4D97-AF65-F5344CB8AC3E}">
        <p14:creationId xmlns:p14="http://schemas.microsoft.com/office/powerpoint/2010/main" val="28307842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jdelijke aanduiding voor inhoud 5">
            <a:extLst>
              <a:ext uri="{FF2B5EF4-FFF2-40B4-BE49-F238E27FC236}">
                <a16:creationId xmlns:a16="http://schemas.microsoft.com/office/drawing/2014/main" id="{4E5BDEF3-6329-302D-9694-7D32AE05EF35}"/>
              </a:ext>
            </a:extLst>
          </p:cNvPr>
          <p:cNvSpPr txBox="1">
            <a:spLocks/>
          </p:cNvSpPr>
          <p:nvPr/>
        </p:nvSpPr>
        <p:spPr>
          <a:xfrm>
            <a:off x="6065565" y="1831827"/>
            <a:ext cx="4802946" cy="2605400"/>
          </a:xfrm>
          <a:prstGeom prst="roundRect">
            <a:avLst/>
          </a:prstGeom>
        </p:spPr>
        <p:style>
          <a:lnRef idx="2">
            <a:schemeClr val="accent1"/>
          </a:lnRef>
          <a:fillRef idx="1">
            <a:schemeClr val="lt1"/>
          </a:fillRef>
          <a:effectRef idx="0">
            <a:schemeClr val="accent1"/>
          </a:effectRef>
          <a:fontRef idx="minor">
            <a:schemeClr val="dk1"/>
          </a:fontRef>
        </p:style>
        <p:txBody>
          <a:bodyPr/>
          <a:lstStyle>
            <a:lvl1pPr marL="0" indent="0" algn="l" defTabSz="914400" rtl="0" eaLnBrk="1" latinLnBrk="0" hangingPunct="1">
              <a:lnSpc>
                <a:spcPct val="100000"/>
              </a:lnSpc>
              <a:spcBef>
                <a:spcPts val="0"/>
              </a:spcBef>
              <a:spcAft>
                <a:spcPts val="300"/>
              </a:spcAft>
              <a:buFontTx/>
              <a:buNone/>
              <a:defRPr sz="2000" kern="1200">
                <a:solidFill>
                  <a:schemeClr val="dk1"/>
                </a:solidFill>
                <a:latin typeface="+mn-lt"/>
                <a:ea typeface="+mn-ea"/>
                <a:cs typeface="+mn-cs"/>
              </a:defRPr>
            </a:lvl1pPr>
            <a:lvl2pPr marL="265113" indent="-26511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dk1"/>
                </a:solidFill>
                <a:latin typeface="+mn-lt"/>
                <a:ea typeface="+mn-ea"/>
                <a:cs typeface="+mn-cs"/>
              </a:defRPr>
            </a:lvl2pPr>
            <a:lvl3pPr marL="541338" indent="-276225"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dk1"/>
                </a:solidFill>
                <a:latin typeface="+mn-lt"/>
                <a:ea typeface="+mn-ea"/>
                <a:cs typeface="+mn-cs"/>
              </a:defRPr>
            </a:lvl3pPr>
            <a:lvl4pPr marL="806450" indent="-265113"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dk1"/>
                </a:solidFill>
                <a:latin typeface="+mn-lt"/>
                <a:ea typeface="+mn-ea"/>
                <a:cs typeface="+mn-cs"/>
              </a:defRPr>
            </a:lvl4pPr>
            <a:lvl5pPr marL="1071563" indent="-265113"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r>
              <a:rPr lang="en-US" sz="2400" dirty="0"/>
              <a:t>The study was conducted during COVID-19 lockdown</a:t>
            </a:r>
          </a:p>
        </p:txBody>
      </p:sp>
      <p:sp>
        <p:nvSpPr>
          <p:cNvPr id="10" name="Tijdelijke aanduiding voor inhoud 5">
            <a:extLst>
              <a:ext uri="{FF2B5EF4-FFF2-40B4-BE49-F238E27FC236}">
                <a16:creationId xmlns:a16="http://schemas.microsoft.com/office/drawing/2014/main" id="{9ED115E0-EC2E-5A33-608F-92517809C062}"/>
              </a:ext>
            </a:extLst>
          </p:cNvPr>
          <p:cNvSpPr txBox="1">
            <a:spLocks/>
          </p:cNvSpPr>
          <p:nvPr/>
        </p:nvSpPr>
        <p:spPr>
          <a:xfrm>
            <a:off x="828056" y="1858916"/>
            <a:ext cx="4413422" cy="2576425"/>
          </a:xfrm>
          <a:prstGeom prst="roundRect">
            <a:avLst/>
          </a:prstGeom>
        </p:spPr>
        <p:style>
          <a:lnRef idx="2">
            <a:schemeClr val="accent1"/>
          </a:lnRef>
          <a:fillRef idx="1">
            <a:schemeClr val="lt1"/>
          </a:fillRef>
          <a:effectRef idx="0">
            <a:schemeClr val="accent1"/>
          </a:effectRef>
          <a:fontRef idx="minor">
            <a:schemeClr val="dk1"/>
          </a:fontRef>
        </p:style>
        <p:txBody>
          <a:bodyPr/>
          <a:lstStyle>
            <a:lvl1pPr marL="0" indent="0" algn="l" defTabSz="914400" rtl="0" eaLnBrk="1" latinLnBrk="0" hangingPunct="1">
              <a:lnSpc>
                <a:spcPct val="100000"/>
              </a:lnSpc>
              <a:spcBef>
                <a:spcPts val="0"/>
              </a:spcBef>
              <a:spcAft>
                <a:spcPts val="300"/>
              </a:spcAft>
              <a:buFontTx/>
              <a:buNone/>
              <a:defRPr sz="2000" kern="1200">
                <a:solidFill>
                  <a:schemeClr val="dk1"/>
                </a:solidFill>
                <a:latin typeface="+mn-lt"/>
                <a:ea typeface="+mn-ea"/>
                <a:cs typeface="+mn-cs"/>
              </a:defRPr>
            </a:lvl1pPr>
            <a:lvl2pPr marL="265113" indent="-26511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dk1"/>
                </a:solidFill>
                <a:latin typeface="+mn-lt"/>
                <a:ea typeface="+mn-ea"/>
                <a:cs typeface="+mn-cs"/>
              </a:defRPr>
            </a:lvl2pPr>
            <a:lvl3pPr marL="541338" indent="-276225"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dk1"/>
                </a:solidFill>
                <a:latin typeface="+mn-lt"/>
                <a:ea typeface="+mn-ea"/>
                <a:cs typeface="+mn-cs"/>
              </a:defRPr>
            </a:lvl3pPr>
            <a:lvl4pPr marL="806450" indent="-265113"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dk1"/>
                </a:solidFill>
                <a:latin typeface="+mn-lt"/>
                <a:ea typeface="+mn-ea"/>
                <a:cs typeface="+mn-cs"/>
              </a:defRPr>
            </a:lvl4pPr>
            <a:lvl5pPr marL="1071563" indent="-265113"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algn="l"/>
            <a:r>
              <a:rPr lang="en-US" sz="2400" dirty="0"/>
              <a:t>Limited number of measurements collected</a:t>
            </a:r>
          </a:p>
        </p:txBody>
      </p:sp>
      <p:sp>
        <p:nvSpPr>
          <p:cNvPr id="2" name="Tijdelijke aanduiding voor inhoud 1">
            <a:extLst>
              <a:ext uri="{FF2B5EF4-FFF2-40B4-BE49-F238E27FC236}">
                <a16:creationId xmlns:a16="http://schemas.microsoft.com/office/drawing/2014/main" id="{1EAF53B5-9C36-4696-A500-97EEFEAD0465}"/>
              </a:ext>
            </a:extLst>
          </p:cNvPr>
          <p:cNvSpPr>
            <a:spLocks noGrp="1"/>
          </p:cNvSpPr>
          <p:nvPr>
            <p:ph idx="1"/>
          </p:nvPr>
        </p:nvSpPr>
        <p:spPr>
          <a:xfrm>
            <a:off x="1643513" y="0"/>
            <a:ext cx="10377649" cy="3005917"/>
          </a:xfrm>
        </p:spPr>
        <p:txBody>
          <a:bodyPr/>
          <a:lstStyle/>
          <a:p>
            <a:pPr marL="457200" indent="-457200">
              <a:buFont typeface="Arial" panose="020B0604020202020204" pitchFamily="34" charset="0"/>
              <a:buChar char="•"/>
            </a:pPr>
            <a:endParaRPr lang="en-US" sz="2400" dirty="0"/>
          </a:p>
          <a:p>
            <a:endParaRPr lang="nl-NL" sz="2400" dirty="0"/>
          </a:p>
        </p:txBody>
      </p:sp>
      <p:sp>
        <p:nvSpPr>
          <p:cNvPr id="3" name="Titel 2">
            <a:extLst>
              <a:ext uri="{FF2B5EF4-FFF2-40B4-BE49-F238E27FC236}">
                <a16:creationId xmlns:a16="http://schemas.microsoft.com/office/drawing/2014/main" id="{C70D0130-8381-4DCE-8750-5A6F4A400CFF}"/>
              </a:ext>
            </a:extLst>
          </p:cNvPr>
          <p:cNvSpPr>
            <a:spLocks noGrp="1"/>
          </p:cNvSpPr>
          <p:nvPr>
            <p:ph type="title"/>
          </p:nvPr>
        </p:nvSpPr>
        <p:spPr/>
        <p:txBody>
          <a:bodyPr/>
          <a:lstStyle/>
          <a:p>
            <a:r>
              <a:rPr lang="nl-NL" dirty="0" err="1"/>
              <a:t>Discussion</a:t>
            </a:r>
            <a:r>
              <a:rPr lang="nl-NL" dirty="0"/>
              <a:t> – </a:t>
            </a:r>
            <a:r>
              <a:rPr lang="nl-NL" dirty="0" err="1"/>
              <a:t>Limitations</a:t>
            </a:r>
            <a:r>
              <a:rPr lang="nl-NL" dirty="0"/>
              <a:t> </a:t>
            </a:r>
          </a:p>
        </p:txBody>
      </p:sp>
      <p:sp>
        <p:nvSpPr>
          <p:cNvPr id="4" name="Tijdelijke aanduiding voor dianummer 3">
            <a:extLst>
              <a:ext uri="{FF2B5EF4-FFF2-40B4-BE49-F238E27FC236}">
                <a16:creationId xmlns:a16="http://schemas.microsoft.com/office/drawing/2014/main" id="{731CD20F-2F05-481B-810F-F8D744D85D86}"/>
              </a:ext>
            </a:extLst>
          </p:cNvPr>
          <p:cNvSpPr>
            <a:spLocks noGrp="1"/>
          </p:cNvSpPr>
          <p:nvPr>
            <p:ph type="sldNum" sz="quarter" idx="4"/>
          </p:nvPr>
        </p:nvSpPr>
        <p:spPr/>
        <p:txBody>
          <a:bodyPr/>
          <a:lstStyle/>
          <a:p>
            <a:fld id="{01ED78C3-3A94-496B-9AE8-73034C580365}" type="slidenum">
              <a:rPr lang="en-US" smtClean="0"/>
              <a:pPr/>
              <a:t>12</a:t>
            </a:fld>
            <a:endParaRPr lang="en-US"/>
          </a:p>
        </p:txBody>
      </p:sp>
      <p:sp>
        <p:nvSpPr>
          <p:cNvPr id="5" name="Tekstvak 4">
            <a:extLst>
              <a:ext uri="{FF2B5EF4-FFF2-40B4-BE49-F238E27FC236}">
                <a16:creationId xmlns:a16="http://schemas.microsoft.com/office/drawing/2014/main" id="{5953AA9D-9798-B07D-8735-5E3A1FDEFA02}"/>
              </a:ext>
            </a:extLst>
          </p:cNvPr>
          <p:cNvSpPr txBox="1"/>
          <p:nvPr/>
        </p:nvSpPr>
        <p:spPr>
          <a:xfrm>
            <a:off x="759542" y="944410"/>
            <a:ext cx="10004252" cy="1200329"/>
          </a:xfrm>
          <a:prstGeom prst="rect">
            <a:avLst/>
          </a:prstGeom>
          <a:noFill/>
        </p:spPr>
        <p:txBody>
          <a:bodyPr wrap="square" lIns="0" tIns="0" rIns="0" bIns="0" rtlCol="0">
            <a:spAutoFit/>
          </a:bodyPr>
          <a:lstStyle/>
          <a:p>
            <a:pPr algn="l"/>
            <a:r>
              <a:rPr lang="en-US" sz="2400" dirty="0"/>
              <a:t> </a:t>
            </a:r>
          </a:p>
          <a:p>
            <a:pPr marL="285750" indent="-285750" algn="l">
              <a:buFont typeface="Arial" panose="020B0604020202020204" pitchFamily="34" charset="0"/>
              <a:buChar char="•"/>
            </a:pPr>
            <a:endParaRPr lang="en-US" dirty="0"/>
          </a:p>
          <a:p>
            <a:pPr algn="l"/>
            <a:r>
              <a:rPr lang="en-US" dirty="0"/>
              <a:t>	</a:t>
            </a:r>
          </a:p>
          <a:p>
            <a:pPr marL="285750" indent="-285750" algn="l">
              <a:buFont typeface="Arial" panose="020B0604020202020204" pitchFamily="34" charset="0"/>
              <a:buChar char="•"/>
            </a:pPr>
            <a:endParaRPr lang="nl-NL" dirty="0" err="1"/>
          </a:p>
        </p:txBody>
      </p:sp>
      <p:pic>
        <p:nvPicPr>
          <p:cNvPr id="7" name="Graphic 6" descr="Controlelijst silhouet">
            <a:extLst>
              <a:ext uri="{FF2B5EF4-FFF2-40B4-BE49-F238E27FC236}">
                <a16:creationId xmlns:a16="http://schemas.microsoft.com/office/drawing/2014/main" id="{06D48C1A-4B1F-C832-28E6-E89936B88C8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68864" y="2896299"/>
            <a:ext cx="1331806" cy="1331806"/>
          </a:xfrm>
          <a:prstGeom prst="rect">
            <a:avLst/>
          </a:prstGeom>
        </p:spPr>
      </p:pic>
      <p:pic>
        <p:nvPicPr>
          <p:cNvPr id="9" name="Graphic 8" descr="N95-masker silhouet">
            <a:extLst>
              <a:ext uri="{FF2B5EF4-FFF2-40B4-BE49-F238E27FC236}">
                <a16:creationId xmlns:a16="http://schemas.microsoft.com/office/drawing/2014/main" id="{F2CD2D86-A63D-1570-6B2E-11A831D7776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728379" y="2894354"/>
            <a:ext cx="1477317" cy="1477317"/>
          </a:xfrm>
          <a:prstGeom prst="rect">
            <a:avLst/>
          </a:prstGeom>
        </p:spPr>
      </p:pic>
    </p:spTree>
    <p:extLst>
      <p:ext uri="{BB962C8B-B14F-4D97-AF65-F5344CB8AC3E}">
        <p14:creationId xmlns:p14="http://schemas.microsoft.com/office/powerpoint/2010/main" val="20517298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1EAF53B5-9C36-4696-A500-97EEFEAD0465}"/>
              </a:ext>
            </a:extLst>
          </p:cNvPr>
          <p:cNvSpPr>
            <a:spLocks noGrp="1"/>
          </p:cNvSpPr>
          <p:nvPr>
            <p:ph idx="1"/>
          </p:nvPr>
        </p:nvSpPr>
        <p:spPr/>
        <p:txBody>
          <a:bodyPr/>
          <a:lstStyle/>
          <a:p>
            <a:pPr marL="457200" indent="-457200">
              <a:buFont typeface="Arial" panose="020B0604020202020204" pitchFamily="34" charset="0"/>
              <a:buChar char="•"/>
            </a:pPr>
            <a:r>
              <a:rPr lang="en-US" sz="2400" dirty="0"/>
              <a:t>Improve 5-Step Method by increasing social support</a:t>
            </a:r>
          </a:p>
          <a:p>
            <a:pPr marL="457200" indent="-457200">
              <a:buFont typeface="Arial" panose="020B0604020202020204" pitchFamily="34" charset="0"/>
              <a:buChar char="•"/>
            </a:pPr>
            <a:endParaRPr lang="en-US" sz="2400" dirty="0"/>
          </a:p>
          <a:p>
            <a:pPr marL="457200" indent="-457200">
              <a:buFont typeface="Arial" panose="020B0604020202020204" pitchFamily="34" charset="0"/>
              <a:buChar char="•"/>
            </a:pPr>
            <a:r>
              <a:rPr lang="en-US" sz="2400" dirty="0"/>
              <a:t>Compare the 5-Step Method to other psychosocial interventions in randomized controlled trials</a:t>
            </a:r>
          </a:p>
          <a:p>
            <a:pPr marL="457200" indent="-457200">
              <a:buFont typeface="Arial" panose="020B0604020202020204" pitchFamily="34" charset="0"/>
              <a:buChar char="•"/>
            </a:pPr>
            <a:endParaRPr lang="en-US" sz="2400" dirty="0"/>
          </a:p>
          <a:p>
            <a:endParaRPr lang="nl-NL" sz="2400" dirty="0"/>
          </a:p>
        </p:txBody>
      </p:sp>
      <p:sp>
        <p:nvSpPr>
          <p:cNvPr id="3" name="Titel 2">
            <a:extLst>
              <a:ext uri="{FF2B5EF4-FFF2-40B4-BE49-F238E27FC236}">
                <a16:creationId xmlns:a16="http://schemas.microsoft.com/office/drawing/2014/main" id="{C70D0130-8381-4DCE-8750-5A6F4A400CFF}"/>
              </a:ext>
            </a:extLst>
          </p:cNvPr>
          <p:cNvSpPr>
            <a:spLocks noGrp="1"/>
          </p:cNvSpPr>
          <p:nvPr>
            <p:ph type="title"/>
          </p:nvPr>
        </p:nvSpPr>
        <p:spPr/>
        <p:txBody>
          <a:bodyPr/>
          <a:lstStyle/>
          <a:p>
            <a:r>
              <a:rPr lang="nl-NL" dirty="0" err="1"/>
              <a:t>Discussion</a:t>
            </a:r>
            <a:r>
              <a:rPr lang="nl-NL" dirty="0"/>
              <a:t> – </a:t>
            </a:r>
            <a:r>
              <a:rPr lang="nl-NL" dirty="0" err="1"/>
              <a:t>Recommendations</a:t>
            </a:r>
            <a:r>
              <a:rPr lang="nl-NL" dirty="0"/>
              <a:t> </a:t>
            </a:r>
          </a:p>
        </p:txBody>
      </p:sp>
      <p:sp>
        <p:nvSpPr>
          <p:cNvPr id="4" name="Tijdelijke aanduiding voor dianummer 3">
            <a:extLst>
              <a:ext uri="{FF2B5EF4-FFF2-40B4-BE49-F238E27FC236}">
                <a16:creationId xmlns:a16="http://schemas.microsoft.com/office/drawing/2014/main" id="{731CD20F-2F05-481B-810F-F8D744D85D86}"/>
              </a:ext>
            </a:extLst>
          </p:cNvPr>
          <p:cNvSpPr>
            <a:spLocks noGrp="1"/>
          </p:cNvSpPr>
          <p:nvPr>
            <p:ph type="sldNum" sz="quarter" idx="4"/>
          </p:nvPr>
        </p:nvSpPr>
        <p:spPr/>
        <p:txBody>
          <a:bodyPr/>
          <a:lstStyle/>
          <a:p>
            <a:fld id="{01ED78C3-3A94-496B-9AE8-73034C580365}" type="slidenum">
              <a:rPr lang="en-US" smtClean="0"/>
              <a:pPr/>
              <a:t>13</a:t>
            </a:fld>
            <a:endParaRPr lang="en-US"/>
          </a:p>
        </p:txBody>
      </p:sp>
    </p:spTree>
    <p:extLst>
      <p:ext uri="{BB962C8B-B14F-4D97-AF65-F5344CB8AC3E}">
        <p14:creationId xmlns:p14="http://schemas.microsoft.com/office/powerpoint/2010/main" val="2866657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1EAF53B5-9C36-4696-A500-97EEFEAD0465}"/>
              </a:ext>
            </a:extLst>
          </p:cNvPr>
          <p:cNvSpPr>
            <a:spLocks noGrp="1"/>
          </p:cNvSpPr>
          <p:nvPr>
            <p:ph idx="1"/>
          </p:nvPr>
        </p:nvSpPr>
        <p:spPr/>
        <p:txBody>
          <a:bodyPr/>
          <a:lstStyle/>
          <a:p>
            <a:pPr marL="457200" indent="-457200">
              <a:buFont typeface="Arial" panose="020B0604020202020204" pitchFamily="34" charset="0"/>
              <a:buChar char="•"/>
            </a:pPr>
            <a:r>
              <a:rPr lang="en-US" sz="2400" dirty="0"/>
              <a:t>The 5-Step Method was found to be a promising intervention for AFMs in the Netherlands</a:t>
            </a:r>
          </a:p>
          <a:p>
            <a:pPr marL="457200" indent="-457200">
              <a:buFont typeface="Arial" panose="020B0604020202020204" pitchFamily="34" charset="0"/>
              <a:buChar char="•"/>
            </a:pPr>
            <a:endParaRPr lang="en-US" sz="2400" dirty="0"/>
          </a:p>
          <a:p>
            <a:pPr marL="457200" indent="-457200">
              <a:buFont typeface="Arial" panose="020B0604020202020204" pitchFamily="34" charset="0"/>
              <a:buChar char="•"/>
            </a:pPr>
            <a:r>
              <a:rPr lang="en-US" sz="2400" dirty="0"/>
              <a:t>Participants following the intervention </a:t>
            </a:r>
            <a:r>
              <a:rPr lang="en-US" sz="2400" b="1" dirty="0"/>
              <a:t>online</a:t>
            </a:r>
            <a:r>
              <a:rPr lang="en-US" sz="2400" dirty="0"/>
              <a:t> reported changes, which were equal or better compared to participants following the intervention </a:t>
            </a:r>
            <a:r>
              <a:rPr lang="en-US" sz="2400" b="1" dirty="0"/>
              <a:t>face-to-face</a:t>
            </a:r>
            <a:endParaRPr lang="nl-NL" sz="2400" b="1" dirty="0"/>
          </a:p>
        </p:txBody>
      </p:sp>
      <p:sp>
        <p:nvSpPr>
          <p:cNvPr id="3" name="Titel 2">
            <a:extLst>
              <a:ext uri="{FF2B5EF4-FFF2-40B4-BE49-F238E27FC236}">
                <a16:creationId xmlns:a16="http://schemas.microsoft.com/office/drawing/2014/main" id="{C70D0130-8381-4DCE-8750-5A6F4A400CFF}"/>
              </a:ext>
            </a:extLst>
          </p:cNvPr>
          <p:cNvSpPr>
            <a:spLocks noGrp="1"/>
          </p:cNvSpPr>
          <p:nvPr>
            <p:ph type="title"/>
          </p:nvPr>
        </p:nvSpPr>
        <p:spPr/>
        <p:txBody>
          <a:bodyPr/>
          <a:lstStyle/>
          <a:p>
            <a:r>
              <a:rPr lang="nl-NL" dirty="0" err="1"/>
              <a:t>Conclusion</a:t>
            </a:r>
            <a:endParaRPr lang="nl-NL" dirty="0"/>
          </a:p>
        </p:txBody>
      </p:sp>
      <p:sp>
        <p:nvSpPr>
          <p:cNvPr id="4" name="Tijdelijke aanduiding voor dianummer 3">
            <a:extLst>
              <a:ext uri="{FF2B5EF4-FFF2-40B4-BE49-F238E27FC236}">
                <a16:creationId xmlns:a16="http://schemas.microsoft.com/office/drawing/2014/main" id="{731CD20F-2F05-481B-810F-F8D744D85D86}"/>
              </a:ext>
            </a:extLst>
          </p:cNvPr>
          <p:cNvSpPr>
            <a:spLocks noGrp="1"/>
          </p:cNvSpPr>
          <p:nvPr>
            <p:ph type="sldNum" sz="quarter" idx="4"/>
          </p:nvPr>
        </p:nvSpPr>
        <p:spPr/>
        <p:txBody>
          <a:bodyPr/>
          <a:lstStyle/>
          <a:p>
            <a:fld id="{01ED78C3-3A94-496B-9AE8-73034C580365}" type="slidenum">
              <a:rPr lang="en-US" smtClean="0"/>
              <a:pPr/>
              <a:t>14</a:t>
            </a:fld>
            <a:endParaRPr lang="en-US"/>
          </a:p>
        </p:txBody>
      </p:sp>
    </p:spTree>
    <p:extLst>
      <p:ext uri="{BB962C8B-B14F-4D97-AF65-F5344CB8AC3E}">
        <p14:creationId xmlns:p14="http://schemas.microsoft.com/office/powerpoint/2010/main" val="12553345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Tijdelijke aanduiding voor afbeelding 6" descr="Afbeelding met brug, water, rivier, buiten&#10;&#10;Automatisch gegenereerde beschrijving">
            <a:extLst>
              <a:ext uri="{FF2B5EF4-FFF2-40B4-BE49-F238E27FC236}">
                <a16:creationId xmlns:a16="http://schemas.microsoft.com/office/drawing/2014/main" id="{C37ADDA0-26D4-4A69-8F4C-77B393AD2A98}"/>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27170" r="27170"/>
          <a:stretch>
            <a:fillRect/>
          </a:stretch>
        </p:blipFill>
        <p:spPr/>
      </p:pic>
      <p:sp>
        <p:nvSpPr>
          <p:cNvPr id="3" name="Tijdelijke aanduiding voor inhoud 2">
            <a:extLst>
              <a:ext uri="{FF2B5EF4-FFF2-40B4-BE49-F238E27FC236}">
                <a16:creationId xmlns:a16="http://schemas.microsoft.com/office/drawing/2014/main" id="{B9C088FD-CDB7-4AC1-B28A-D30A0D48D9E9}"/>
              </a:ext>
            </a:extLst>
          </p:cNvPr>
          <p:cNvSpPr>
            <a:spLocks noGrp="1"/>
          </p:cNvSpPr>
          <p:nvPr>
            <p:ph idx="1"/>
          </p:nvPr>
        </p:nvSpPr>
        <p:spPr>
          <a:xfrm>
            <a:off x="5671339" y="1903152"/>
            <a:ext cx="6367622" cy="3432526"/>
          </a:xfrm>
        </p:spPr>
        <p:txBody>
          <a:bodyPr/>
          <a:lstStyle/>
          <a:p>
            <a:pPr>
              <a:spcBef>
                <a:spcPts val="600"/>
              </a:spcBef>
            </a:pPr>
            <a:r>
              <a:rPr lang="nl-NL" b="1" dirty="0">
                <a:effectLst/>
                <a:latin typeface="Calibri" panose="020F0502020204030204" pitchFamily="34" charset="0"/>
                <a:ea typeface="Calibri" panose="020F0502020204030204" pitchFamily="34" charset="0"/>
                <a:cs typeface="Calibri" panose="020F0502020204030204" pitchFamily="34" charset="0"/>
              </a:rPr>
              <a:t>Max van Beek</a:t>
            </a:r>
            <a:r>
              <a:rPr lang="en-GB" baseline="30000" dirty="0">
                <a:latin typeface="Calibri" panose="020F0502020204030204" pitchFamily="34" charset="0"/>
                <a:ea typeface="Calibri" panose="020F0502020204030204" pitchFamily="34" charset="0"/>
                <a:cs typeface="Calibri" panose="020F0502020204030204" pitchFamily="34" charset="0"/>
              </a:rPr>
              <a:t>a</a:t>
            </a:r>
            <a:r>
              <a:rPr lang="en-GB" sz="2000" baseline="30000" dirty="0">
                <a:effectLst/>
                <a:latin typeface="Calibri" panose="020F0502020204030204" pitchFamily="34" charset="0"/>
                <a:ea typeface="Calibri" panose="020F0502020204030204" pitchFamily="34" charset="0"/>
                <a:cs typeface="Calibri" panose="020F0502020204030204" pitchFamily="34" charset="0"/>
              </a:rPr>
              <a:t>, </a:t>
            </a:r>
            <a:r>
              <a:rPr lang="en-GB" baseline="30000" dirty="0">
                <a:latin typeface="Calibri" panose="020F0502020204030204" pitchFamily="34" charset="0"/>
                <a:ea typeface="Calibri" panose="020F0502020204030204" pitchFamily="34" charset="0"/>
                <a:cs typeface="Calibri" panose="020F0502020204030204" pitchFamily="34" charset="0"/>
              </a:rPr>
              <a:t>b</a:t>
            </a:r>
            <a:r>
              <a:rPr lang="en-GB" sz="2000" baseline="30000" dirty="0">
                <a:effectLst/>
                <a:latin typeface="Calibri" panose="020F0502020204030204" pitchFamily="34" charset="0"/>
                <a:ea typeface="Calibri" panose="020F0502020204030204" pitchFamily="34" charset="0"/>
                <a:cs typeface="Calibri" panose="020F0502020204030204" pitchFamily="34" charset="0"/>
              </a:rPr>
              <a:t>, </a:t>
            </a:r>
            <a:r>
              <a:rPr lang="en-GB" baseline="30000" dirty="0">
                <a:latin typeface="Calibri" panose="020F0502020204030204" pitchFamily="34" charset="0"/>
                <a:ea typeface="Calibri" panose="020F0502020204030204" pitchFamily="34" charset="0"/>
                <a:cs typeface="Calibri" panose="020F0502020204030204" pitchFamily="34" charset="0"/>
              </a:rPr>
              <a:t>c</a:t>
            </a:r>
            <a:r>
              <a:rPr lang="en-GB" sz="2000" baseline="30000" dirty="0">
                <a:effectLst/>
                <a:latin typeface="Calibri" panose="020F0502020204030204" pitchFamily="34" charset="0"/>
                <a:ea typeface="Calibri" panose="020F0502020204030204" pitchFamily="34" charset="0"/>
                <a:cs typeface="Calibri" panose="020F0502020204030204" pitchFamily="34" charset="0"/>
              </a:rPr>
              <a:t>, </a:t>
            </a:r>
            <a:r>
              <a:rPr lang="en-GB" baseline="30000" dirty="0">
                <a:latin typeface="Calibri" panose="020F0502020204030204" pitchFamily="34" charset="0"/>
                <a:ea typeface="Calibri" panose="020F0502020204030204" pitchFamily="34" charset="0"/>
                <a:cs typeface="Calibri" panose="020F0502020204030204" pitchFamily="34" charset="0"/>
              </a:rPr>
              <a:t>d</a:t>
            </a:r>
            <a:r>
              <a:rPr lang="en-GB" sz="2000" baseline="30000" dirty="0">
                <a:effectLst/>
                <a:latin typeface="Calibri" panose="020F0502020204030204" pitchFamily="34" charset="0"/>
                <a:ea typeface="Calibri" panose="020F0502020204030204" pitchFamily="34" charset="0"/>
                <a:cs typeface="Calibri" panose="020F0502020204030204" pitchFamily="34" charset="0"/>
              </a:rPr>
              <a:t>  </a:t>
            </a:r>
            <a:r>
              <a:rPr lang="nl-NL" dirty="0">
                <a:effectLst/>
                <a:latin typeface="Calibri" panose="020F0502020204030204" pitchFamily="34" charset="0"/>
                <a:ea typeface="Calibri" panose="020F0502020204030204" pitchFamily="34" charset="0"/>
                <a:cs typeface="Calibri" panose="020F0502020204030204" pitchFamily="34" charset="0"/>
              </a:rPr>
              <a:t>, Richard </a:t>
            </a:r>
            <a:r>
              <a:rPr lang="nl-NL" dirty="0" err="1">
                <a:effectLst/>
                <a:latin typeface="Calibri" panose="020F0502020204030204" pitchFamily="34" charset="0"/>
                <a:ea typeface="Calibri" panose="020F0502020204030204" pitchFamily="34" charset="0"/>
                <a:cs typeface="Calibri" panose="020F0502020204030204" pitchFamily="34" charset="0"/>
              </a:rPr>
              <a:t>Velleman</a:t>
            </a:r>
            <a:r>
              <a:rPr lang="en-GB" baseline="30000" dirty="0">
                <a:effectLst/>
                <a:latin typeface="Calibri" panose="020F0502020204030204" pitchFamily="34" charset="0"/>
                <a:ea typeface="Calibri" panose="020F0502020204030204" pitchFamily="34" charset="0"/>
                <a:cs typeface="Calibri" panose="020F0502020204030204" pitchFamily="34" charset="0"/>
              </a:rPr>
              <a:t>e</a:t>
            </a:r>
            <a:r>
              <a:rPr lang="en-GB" sz="2000" baseline="30000" dirty="0">
                <a:latin typeface="Calibri" panose="020F0502020204030204" pitchFamily="34" charset="0"/>
                <a:cs typeface="Calibri" panose="020F0502020204030204" pitchFamily="34" charset="0"/>
              </a:rPr>
              <a:t>, </a:t>
            </a:r>
            <a:r>
              <a:rPr lang="en-GB" baseline="30000" dirty="0">
                <a:latin typeface="Calibri" panose="020F0502020204030204" pitchFamily="34" charset="0"/>
                <a:cs typeface="Calibri" panose="020F0502020204030204" pitchFamily="34" charset="0"/>
              </a:rPr>
              <a:t>f</a:t>
            </a:r>
            <a:r>
              <a:rPr lang="nl-NL" dirty="0">
                <a:effectLst/>
                <a:latin typeface="Calibri" panose="020F0502020204030204" pitchFamily="34" charset="0"/>
                <a:ea typeface="Calibri" panose="020F0502020204030204" pitchFamily="34" charset="0"/>
                <a:cs typeface="Calibri" panose="020F0502020204030204" pitchFamily="34" charset="0"/>
              </a:rPr>
              <a:t>, Tamara de Bruijn</a:t>
            </a:r>
            <a:r>
              <a:rPr lang="en-GB" baseline="30000" dirty="0">
                <a:effectLst/>
                <a:latin typeface="Calibri" panose="020F0502020204030204" pitchFamily="34" charset="0"/>
                <a:ea typeface="Calibri" panose="020F0502020204030204" pitchFamily="34" charset="0"/>
                <a:cs typeface="Calibri" panose="020F0502020204030204" pitchFamily="34" charset="0"/>
              </a:rPr>
              <a:t>g</a:t>
            </a:r>
            <a:r>
              <a:rPr lang="nl-NL" dirty="0">
                <a:effectLst/>
                <a:latin typeface="Calibri" panose="020F0502020204030204" pitchFamily="34" charset="0"/>
                <a:ea typeface="Calibri" panose="020F0502020204030204" pitchFamily="34" charset="0"/>
                <a:cs typeface="Calibri" panose="020F0502020204030204" pitchFamily="34" charset="0"/>
              </a:rPr>
              <a:t>, </a:t>
            </a:r>
            <a:r>
              <a:rPr lang="nl-NL" dirty="0" err="1">
                <a:effectLst/>
                <a:latin typeface="Calibri" panose="020F0502020204030204" pitchFamily="34" charset="0"/>
                <a:ea typeface="Calibri" panose="020F0502020204030204" pitchFamily="34" charset="0"/>
                <a:cs typeface="Calibri" panose="020F0502020204030204" pitchFamily="34" charset="0"/>
              </a:rPr>
              <a:t>Gill</a:t>
            </a:r>
            <a:r>
              <a:rPr lang="nl-NL" dirty="0">
                <a:effectLst/>
                <a:latin typeface="Calibri" panose="020F0502020204030204" pitchFamily="34" charset="0"/>
                <a:ea typeface="Calibri" panose="020F0502020204030204" pitchFamily="34" charset="0"/>
                <a:cs typeface="Calibri" panose="020F0502020204030204" pitchFamily="34" charset="0"/>
              </a:rPr>
              <a:t> </a:t>
            </a:r>
            <a:r>
              <a:rPr lang="nl-NL" dirty="0" err="1">
                <a:effectLst/>
                <a:latin typeface="Calibri" panose="020F0502020204030204" pitchFamily="34" charset="0"/>
                <a:ea typeface="Calibri" panose="020F0502020204030204" pitchFamily="34" charset="0"/>
                <a:cs typeface="Calibri" panose="020F0502020204030204" pitchFamily="34" charset="0"/>
              </a:rPr>
              <a:t>Velleman</a:t>
            </a:r>
            <a:r>
              <a:rPr lang="en-GB" baseline="30000" dirty="0">
                <a:effectLst/>
                <a:latin typeface="Calibri" panose="020F0502020204030204" pitchFamily="34" charset="0"/>
                <a:ea typeface="Calibri" panose="020F0502020204030204" pitchFamily="34" charset="0"/>
                <a:cs typeface="Calibri" panose="020F0502020204030204" pitchFamily="34" charset="0"/>
              </a:rPr>
              <a:t>h</a:t>
            </a:r>
            <a:r>
              <a:rPr lang="nl-NL" dirty="0">
                <a:effectLst/>
                <a:latin typeface="Calibri" panose="020F0502020204030204" pitchFamily="34" charset="0"/>
                <a:ea typeface="Calibri" panose="020F0502020204030204" pitchFamily="34" charset="0"/>
                <a:cs typeface="Calibri" panose="020F0502020204030204" pitchFamily="34" charset="0"/>
              </a:rPr>
              <a:t>, Anna E. Goudriaan</a:t>
            </a:r>
            <a:r>
              <a:rPr lang="en-GB" baseline="30000" dirty="0">
                <a:effectLst/>
                <a:latin typeface="Calibri" panose="020F0502020204030204" pitchFamily="34" charset="0"/>
                <a:ea typeface="Calibri" panose="020F0502020204030204" pitchFamily="34" charset="0"/>
                <a:cs typeface="Calibri" panose="020F0502020204030204" pitchFamily="34" charset="0"/>
              </a:rPr>
              <a:t>a</a:t>
            </a:r>
            <a:r>
              <a:rPr lang="en-GB" sz="2000" baseline="30000" dirty="0">
                <a:latin typeface="Calibri" panose="020F0502020204030204" pitchFamily="34" charset="0"/>
                <a:cs typeface="Calibri" panose="020F0502020204030204" pitchFamily="34" charset="0"/>
              </a:rPr>
              <a:t>, </a:t>
            </a:r>
            <a:r>
              <a:rPr lang="en-GB" baseline="30000" dirty="0">
                <a:latin typeface="Calibri" panose="020F0502020204030204" pitchFamily="34" charset="0"/>
                <a:cs typeface="Calibri" panose="020F0502020204030204" pitchFamily="34" charset="0"/>
              </a:rPr>
              <a:t>b</a:t>
            </a:r>
            <a:r>
              <a:rPr lang="en-GB" sz="2000" baseline="30000" dirty="0">
                <a:latin typeface="Calibri" panose="020F0502020204030204" pitchFamily="34" charset="0"/>
                <a:cs typeface="Calibri" panose="020F0502020204030204" pitchFamily="34" charset="0"/>
              </a:rPr>
              <a:t>, </a:t>
            </a:r>
            <a:r>
              <a:rPr lang="en-GB" baseline="30000" dirty="0">
                <a:latin typeface="Calibri" panose="020F0502020204030204" pitchFamily="34" charset="0"/>
                <a:cs typeface="Calibri" panose="020F0502020204030204" pitchFamily="34" charset="0"/>
              </a:rPr>
              <a:t>c</a:t>
            </a:r>
            <a:r>
              <a:rPr lang="en-GB" sz="2000" baseline="30000" dirty="0">
                <a:latin typeface="Calibri" panose="020F0502020204030204" pitchFamily="34" charset="0"/>
                <a:cs typeface="Calibri" panose="020F0502020204030204" pitchFamily="34" charset="0"/>
              </a:rPr>
              <a:t>, </a:t>
            </a:r>
            <a:r>
              <a:rPr lang="en-GB" baseline="30000" dirty="0">
                <a:latin typeface="Calibri" panose="020F0502020204030204" pitchFamily="34" charset="0"/>
                <a:cs typeface="Calibri" panose="020F0502020204030204" pitchFamily="34" charset="0"/>
              </a:rPr>
              <a:t>d</a:t>
            </a:r>
            <a:r>
              <a:rPr lang="en-GB" sz="2000" dirty="0">
                <a:effectLst/>
                <a:latin typeface="Calibri" panose="020F0502020204030204" pitchFamily="34" charset="0"/>
                <a:ea typeface="Calibri" panose="020F0502020204030204" pitchFamily="34" charset="0"/>
                <a:cs typeface="Calibri" panose="020F0502020204030204" pitchFamily="34" charset="0"/>
              </a:rPr>
              <a:t> </a:t>
            </a:r>
          </a:p>
          <a:p>
            <a:pPr>
              <a:spcBef>
                <a:spcPts val="600"/>
              </a:spcBef>
            </a:pPr>
            <a:br>
              <a:rPr lang="nl-NL" sz="1800" baseline="30000" dirty="0">
                <a:latin typeface="Calibri" panose="020F0502020204030204" pitchFamily="34" charset="0"/>
                <a:ea typeface="Calibri" panose="020F0502020204030204" pitchFamily="34" charset="0"/>
                <a:cs typeface="Calibri" panose="020F0502020204030204" pitchFamily="34" charset="0"/>
              </a:rPr>
            </a:br>
            <a:r>
              <a:rPr lang="en-GB" sz="1100" baseline="30000" dirty="0">
                <a:latin typeface="Calibri" panose="020F0502020204030204" pitchFamily="34" charset="0"/>
                <a:ea typeface="Calibri" panose="020F0502020204030204" pitchFamily="34" charset="0"/>
                <a:cs typeface="Calibri" panose="020F0502020204030204" pitchFamily="34" charset="0"/>
              </a:rPr>
              <a:t>a</a:t>
            </a:r>
            <a:r>
              <a:rPr lang="en-GB" sz="1100" dirty="0">
                <a:effectLst/>
                <a:latin typeface="Calibri" panose="020F0502020204030204" pitchFamily="34" charset="0"/>
                <a:ea typeface="Calibri" panose="020F0502020204030204" pitchFamily="34" charset="0"/>
                <a:cs typeface="Calibri" panose="020F0502020204030204" pitchFamily="34" charset="0"/>
              </a:rPr>
              <a:t> </a:t>
            </a:r>
            <a:r>
              <a:rPr lang="en-US" sz="1100" dirty="0">
                <a:effectLst/>
                <a:latin typeface="Calibri" panose="020F0502020204030204" pitchFamily="34" charset="0"/>
                <a:ea typeface="Calibri" panose="020F0502020204030204" pitchFamily="34" charset="0"/>
                <a:cs typeface="Calibri" panose="020F0502020204030204" pitchFamily="34" charset="0"/>
              </a:rPr>
              <a:t>Arkin, Department of Research, Amsterdam, the Netherlands;</a:t>
            </a:r>
          </a:p>
          <a:p>
            <a:pPr>
              <a:spcBef>
                <a:spcPts val="600"/>
              </a:spcBef>
            </a:pPr>
            <a:r>
              <a:rPr lang="en-GB" sz="1100" baseline="30000" dirty="0">
                <a:effectLst/>
                <a:latin typeface="Calibri" panose="020F0502020204030204" pitchFamily="34" charset="0"/>
                <a:ea typeface="Calibri" panose="020F0502020204030204" pitchFamily="34" charset="0"/>
                <a:cs typeface="Calibri" panose="020F0502020204030204" pitchFamily="34" charset="0"/>
              </a:rPr>
              <a:t>b</a:t>
            </a:r>
            <a:r>
              <a:rPr lang="en-GB" sz="1100" dirty="0">
                <a:effectLst/>
                <a:latin typeface="Calibri" panose="020F0502020204030204" pitchFamily="34" charset="0"/>
                <a:ea typeface="Calibri" panose="020F0502020204030204" pitchFamily="34" charset="0"/>
                <a:cs typeface="Calibri" panose="020F0502020204030204" pitchFamily="34" charset="0"/>
              </a:rPr>
              <a:t> </a:t>
            </a:r>
            <a:r>
              <a:rPr lang="en-US" sz="1100" dirty="0" err="1">
                <a:latin typeface="Calibri" panose="020F0502020204030204" pitchFamily="34" charset="0"/>
                <a:ea typeface="Calibri" panose="020F0502020204030204" pitchFamily="34" charset="0"/>
                <a:cs typeface="Calibri" panose="020F0502020204030204" pitchFamily="34" charset="0"/>
              </a:rPr>
              <a:t>J</a:t>
            </a:r>
            <a:r>
              <a:rPr lang="en-US" sz="1100" dirty="0" err="1">
                <a:effectLst/>
                <a:latin typeface="Calibri" panose="020F0502020204030204" pitchFamily="34" charset="0"/>
                <a:ea typeface="Calibri" panose="020F0502020204030204" pitchFamily="34" charset="0"/>
                <a:cs typeface="Calibri" panose="020F0502020204030204" pitchFamily="34" charset="0"/>
              </a:rPr>
              <a:t>ellinek</a:t>
            </a:r>
            <a:r>
              <a:rPr lang="en-US" sz="1100" dirty="0">
                <a:effectLst/>
                <a:latin typeface="Calibri" panose="020F0502020204030204" pitchFamily="34" charset="0"/>
                <a:ea typeface="Calibri" panose="020F0502020204030204" pitchFamily="34" charset="0"/>
                <a:cs typeface="Calibri" panose="020F0502020204030204" pitchFamily="34" charset="0"/>
              </a:rPr>
              <a:t>, </a:t>
            </a:r>
            <a:r>
              <a:rPr lang="en-US" sz="1100" dirty="0" err="1">
                <a:effectLst/>
                <a:latin typeface="Calibri" panose="020F0502020204030204" pitchFamily="34" charset="0"/>
                <a:ea typeface="Calibri" panose="020F0502020204030204" pitchFamily="34" charset="0"/>
                <a:cs typeface="Calibri" panose="020F0502020204030204" pitchFamily="34" charset="0"/>
              </a:rPr>
              <a:t>TOPGGz</a:t>
            </a:r>
            <a:r>
              <a:rPr lang="en-US" sz="1100" dirty="0">
                <a:effectLst/>
                <a:latin typeface="Calibri" panose="020F0502020204030204" pitchFamily="34" charset="0"/>
                <a:ea typeface="Calibri" panose="020F0502020204030204" pitchFamily="34" charset="0"/>
                <a:cs typeface="Calibri" panose="020F0502020204030204" pitchFamily="34" charset="0"/>
              </a:rPr>
              <a:t> department Jacob </a:t>
            </a:r>
            <a:r>
              <a:rPr lang="en-US" sz="1100" dirty="0" err="1">
                <a:effectLst/>
                <a:latin typeface="Calibri" panose="020F0502020204030204" pitchFamily="34" charset="0"/>
                <a:ea typeface="Calibri" panose="020F0502020204030204" pitchFamily="34" charset="0"/>
                <a:cs typeface="Calibri" panose="020F0502020204030204" pitchFamily="34" charset="0"/>
              </a:rPr>
              <a:t>Obrechtstraat</a:t>
            </a:r>
            <a:r>
              <a:rPr lang="en-US" sz="1100" dirty="0">
                <a:effectLst/>
                <a:latin typeface="Calibri" panose="020F0502020204030204" pitchFamily="34" charset="0"/>
                <a:ea typeface="Calibri" panose="020F0502020204030204" pitchFamily="34" charset="0"/>
                <a:cs typeface="Calibri" panose="020F0502020204030204" pitchFamily="34" charset="0"/>
              </a:rPr>
              <a:t> 92, Amsterdam, the Netherlands; </a:t>
            </a:r>
          </a:p>
          <a:p>
            <a:pPr>
              <a:spcBef>
                <a:spcPts val="600"/>
              </a:spcBef>
            </a:pPr>
            <a:r>
              <a:rPr lang="en-GB" sz="1100" baseline="30000" dirty="0">
                <a:effectLst/>
                <a:latin typeface="Calibri" panose="020F0502020204030204" pitchFamily="34" charset="0"/>
                <a:ea typeface="Calibri" panose="020F0502020204030204" pitchFamily="34" charset="0"/>
                <a:cs typeface="Calibri" panose="020F0502020204030204" pitchFamily="34" charset="0"/>
              </a:rPr>
              <a:t>c</a:t>
            </a:r>
            <a:r>
              <a:rPr lang="en-GB" sz="1100" dirty="0">
                <a:effectLst/>
                <a:latin typeface="Calibri" panose="020F0502020204030204" pitchFamily="34" charset="0"/>
                <a:ea typeface="Calibri" panose="020F0502020204030204" pitchFamily="34" charset="0"/>
                <a:cs typeface="Calibri" panose="020F0502020204030204" pitchFamily="34" charset="0"/>
              </a:rPr>
              <a:t> </a:t>
            </a:r>
            <a:r>
              <a:rPr lang="en-US" sz="1100" dirty="0">
                <a:effectLst/>
                <a:latin typeface="Calibri" panose="020F0502020204030204" pitchFamily="34" charset="0"/>
                <a:ea typeface="Calibri" panose="020F0502020204030204" pitchFamily="34" charset="0"/>
                <a:cs typeface="Calibri" panose="020F0502020204030204" pitchFamily="34" charset="0"/>
              </a:rPr>
              <a:t>Amsterdam UMC location University of Amsterdam, Department of Psychiatry, Amsterdam, </a:t>
            </a:r>
            <a:r>
              <a:rPr lang="en-US" sz="1100" dirty="0" err="1">
                <a:effectLst/>
                <a:latin typeface="Calibri" panose="020F0502020204030204" pitchFamily="34" charset="0"/>
                <a:ea typeface="Calibri" panose="020F0502020204030204" pitchFamily="34" charset="0"/>
                <a:cs typeface="Calibri" panose="020F0502020204030204" pitchFamily="34" charset="0"/>
              </a:rPr>
              <a:t>Meibergdreef</a:t>
            </a:r>
            <a:r>
              <a:rPr lang="en-US" sz="1100" dirty="0">
                <a:effectLst/>
                <a:latin typeface="Calibri" panose="020F0502020204030204" pitchFamily="34" charset="0"/>
                <a:ea typeface="Calibri" panose="020F0502020204030204" pitchFamily="34" charset="0"/>
                <a:cs typeface="Calibri" panose="020F0502020204030204" pitchFamily="34" charset="0"/>
              </a:rPr>
              <a:t> 9, the Netherlands;</a:t>
            </a:r>
          </a:p>
          <a:p>
            <a:pPr>
              <a:spcBef>
                <a:spcPts val="600"/>
              </a:spcBef>
            </a:pPr>
            <a:r>
              <a:rPr lang="en-GB" sz="1100" baseline="30000" dirty="0">
                <a:effectLst/>
                <a:latin typeface="Calibri" panose="020F0502020204030204" pitchFamily="34" charset="0"/>
                <a:ea typeface="Calibri" panose="020F0502020204030204" pitchFamily="34" charset="0"/>
                <a:cs typeface="Calibri" panose="020F0502020204030204" pitchFamily="34" charset="0"/>
              </a:rPr>
              <a:t>d</a:t>
            </a:r>
            <a:r>
              <a:rPr lang="en-GB" sz="1100" dirty="0">
                <a:effectLst/>
                <a:latin typeface="Calibri" panose="020F0502020204030204" pitchFamily="34" charset="0"/>
                <a:ea typeface="Calibri" panose="020F0502020204030204" pitchFamily="34" charset="0"/>
                <a:cs typeface="Calibri" panose="020F0502020204030204" pitchFamily="34" charset="0"/>
              </a:rPr>
              <a:t> </a:t>
            </a:r>
            <a:r>
              <a:rPr lang="en-US" sz="1100" dirty="0">
                <a:effectLst/>
                <a:latin typeface="Calibri" panose="020F0502020204030204" pitchFamily="34" charset="0"/>
                <a:ea typeface="Calibri" panose="020F0502020204030204" pitchFamily="34" charset="0"/>
                <a:cs typeface="Calibri" panose="020F0502020204030204" pitchFamily="34" charset="0"/>
              </a:rPr>
              <a:t>Amsterdam Institute for Addiction Research (AIAR), Amsterdam, the Netherlands;</a:t>
            </a:r>
          </a:p>
          <a:p>
            <a:pPr>
              <a:spcBef>
                <a:spcPts val="600"/>
              </a:spcBef>
            </a:pPr>
            <a:r>
              <a:rPr lang="en-GB" sz="1100" baseline="30000" dirty="0">
                <a:latin typeface="Calibri" panose="020F0502020204030204" pitchFamily="34" charset="0"/>
                <a:cs typeface="Calibri" panose="020F0502020204030204" pitchFamily="34" charset="0"/>
              </a:rPr>
              <a:t>e </a:t>
            </a:r>
            <a:r>
              <a:rPr lang="en-US" sz="1100" dirty="0">
                <a:effectLst/>
                <a:latin typeface="Calibri" panose="020F0502020204030204" pitchFamily="34" charset="0"/>
                <a:ea typeface="Calibri" panose="020F0502020204030204" pitchFamily="34" charset="0"/>
                <a:cs typeface="Calibri" panose="020F0502020204030204" pitchFamily="34" charset="0"/>
              </a:rPr>
              <a:t>Department of Psychology, University of Bath, Bath, UK;</a:t>
            </a:r>
          </a:p>
          <a:p>
            <a:pPr>
              <a:spcBef>
                <a:spcPts val="600"/>
              </a:spcBef>
            </a:pPr>
            <a:r>
              <a:rPr lang="en-GB" sz="1100" baseline="30000" dirty="0">
                <a:effectLst/>
                <a:latin typeface="Calibri" panose="020F0502020204030204" pitchFamily="34" charset="0"/>
                <a:ea typeface="Calibri" panose="020F0502020204030204" pitchFamily="34" charset="0"/>
                <a:cs typeface="Calibri" panose="020F0502020204030204" pitchFamily="34" charset="0"/>
              </a:rPr>
              <a:t>f</a:t>
            </a:r>
            <a:r>
              <a:rPr lang="en-GB" sz="1100" dirty="0">
                <a:effectLst/>
                <a:latin typeface="Calibri" panose="020F0502020204030204" pitchFamily="34" charset="0"/>
                <a:ea typeface="Calibri" panose="020F0502020204030204" pitchFamily="34" charset="0"/>
                <a:cs typeface="Calibri" panose="020F0502020204030204" pitchFamily="34" charset="0"/>
              </a:rPr>
              <a:t> </a:t>
            </a:r>
            <a:r>
              <a:rPr lang="en-US" sz="1100" dirty="0">
                <a:effectLst/>
                <a:latin typeface="Calibri" panose="020F0502020204030204" pitchFamily="34" charset="0"/>
                <a:ea typeface="Calibri" panose="020F0502020204030204" pitchFamily="34" charset="0"/>
                <a:cs typeface="Calibri" panose="020F0502020204030204" pitchFamily="34" charset="0"/>
              </a:rPr>
              <a:t>Addictions Research Group, </a:t>
            </a:r>
            <a:r>
              <a:rPr lang="en-US" sz="1100" dirty="0" err="1">
                <a:effectLst/>
                <a:latin typeface="Calibri" panose="020F0502020204030204" pitchFamily="34" charset="0"/>
                <a:ea typeface="Calibri" panose="020F0502020204030204" pitchFamily="34" charset="0"/>
                <a:cs typeface="Calibri" panose="020F0502020204030204" pitchFamily="34" charset="0"/>
              </a:rPr>
              <a:t>Sangath</a:t>
            </a:r>
            <a:r>
              <a:rPr lang="en-US" sz="1100" dirty="0">
                <a:effectLst/>
                <a:latin typeface="Calibri" panose="020F0502020204030204" pitchFamily="34" charset="0"/>
                <a:ea typeface="Calibri" panose="020F0502020204030204" pitchFamily="34" charset="0"/>
                <a:cs typeface="Calibri" panose="020F0502020204030204" pitchFamily="34" charset="0"/>
              </a:rPr>
              <a:t>, Goa, India;</a:t>
            </a:r>
          </a:p>
          <a:p>
            <a:pPr>
              <a:spcBef>
                <a:spcPts val="600"/>
              </a:spcBef>
            </a:pPr>
            <a:r>
              <a:rPr lang="en-GB" sz="1100" baseline="30000" dirty="0">
                <a:effectLst/>
                <a:latin typeface="Calibri" panose="020F0502020204030204" pitchFamily="34" charset="0"/>
                <a:ea typeface="Calibri" panose="020F0502020204030204" pitchFamily="34" charset="0"/>
                <a:cs typeface="Calibri" panose="020F0502020204030204" pitchFamily="34" charset="0"/>
              </a:rPr>
              <a:t>g</a:t>
            </a:r>
            <a:r>
              <a:rPr lang="en-GB" sz="1100" dirty="0">
                <a:effectLst/>
                <a:latin typeface="Calibri" panose="020F0502020204030204" pitchFamily="34" charset="0"/>
                <a:ea typeface="Calibri" panose="020F0502020204030204" pitchFamily="34" charset="0"/>
                <a:cs typeface="Calibri" panose="020F0502020204030204" pitchFamily="34" charset="0"/>
              </a:rPr>
              <a:t> </a:t>
            </a:r>
            <a:r>
              <a:rPr lang="en-US" sz="1100" dirty="0">
                <a:effectLst/>
                <a:latin typeface="Calibri" panose="020F0502020204030204" pitchFamily="34" charset="0"/>
                <a:ea typeface="Calibri" panose="020F0502020204030204" pitchFamily="34" charset="0"/>
                <a:cs typeface="Calibri" panose="020F0502020204030204" pitchFamily="34" charset="0"/>
              </a:rPr>
              <a:t>Department of Prevention, </a:t>
            </a:r>
            <a:r>
              <a:rPr lang="en-US" sz="1100" dirty="0" err="1">
                <a:effectLst/>
                <a:latin typeface="Calibri" panose="020F0502020204030204" pitchFamily="34" charset="0"/>
                <a:ea typeface="Calibri" panose="020F0502020204030204" pitchFamily="34" charset="0"/>
                <a:cs typeface="Calibri" panose="020F0502020204030204" pitchFamily="34" charset="0"/>
              </a:rPr>
              <a:t>Jellinek</a:t>
            </a:r>
            <a:r>
              <a:rPr lang="en-US" sz="1100" dirty="0">
                <a:effectLst/>
                <a:latin typeface="Calibri" panose="020F0502020204030204" pitchFamily="34" charset="0"/>
                <a:ea typeface="Calibri" panose="020F0502020204030204" pitchFamily="34" charset="0"/>
                <a:cs typeface="Calibri" panose="020F0502020204030204" pitchFamily="34" charset="0"/>
              </a:rPr>
              <a:t>, Amsterdam, the Netherlands;</a:t>
            </a:r>
          </a:p>
          <a:p>
            <a:pPr>
              <a:spcBef>
                <a:spcPts val="600"/>
              </a:spcBef>
            </a:pPr>
            <a:r>
              <a:rPr lang="en-GB" sz="1100" baseline="30000" dirty="0">
                <a:latin typeface="Calibri" panose="020F0502020204030204" pitchFamily="34" charset="0"/>
                <a:ea typeface="Calibri" panose="020F0502020204030204" pitchFamily="34" charset="0"/>
                <a:cs typeface="Calibri" panose="020F0502020204030204" pitchFamily="34" charset="0"/>
              </a:rPr>
              <a:t>h</a:t>
            </a:r>
            <a:r>
              <a:rPr lang="en-GB" sz="1100" dirty="0">
                <a:effectLst/>
                <a:latin typeface="Calibri" panose="020F0502020204030204" pitchFamily="34" charset="0"/>
                <a:ea typeface="Calibri" panose="020F0502020204030204" pitchFamily="34" charset="0"/>
                <a:cs typeface="Calibri" panose="020F0502020204030204" pitchFamily="34" charset="0"/>
              </a:rPr>
              <a:t> </a:t>
            </a:r>
            <a:r>
              <a:rPr lang="en-US" sz="1100" dirty="0">
                <a:effectLst/>
                <a:latin typeface="Calibri" panose="020F0502020204030204" pitchFamily="34" charset="0"/>
                <a:ea typeface="Calibri" panose="020F0502020204030204" pitchFamily="34" charset="0"/>
                <a:cs typeface="Calibri" panose="020F0502020204030204" pitchFamily="34" charset="0"/>
              </a:rPr>
              <a:t>Velleman Consultancy, Bath, UK;</a:t>
            </a:r>
          </a:p>
          <a:p>
            <a:pPr>
              <a:spcBef>
                <a:spcPts val="600"/>
              </a:spcBef>
            </a:pPr>
            <a:endParaRPr lang="nl-NL" sz="11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5" name="Tijdelijke aanduiding voor dianummer 4">
            <a:extLst>
              <a:ext uri="{FF2B5EF4-FFF2-40B4-BE49-F238E27FC236}">
                <a16:creationId xmlns:a16="http://schemas.microsoft.com/office/drawing/2014/main" id="{A979E5EA-775E-4462-AC09-9EAA763DF564}"/>
              </a:ext>
            </a:extLst>
          </p:cNvPr>
          <p:cNvSpPr>
            <a:spLocks noGrp="1"/>
          </p:cNvSpPr>
          <p:nvPr>
            <p:ph type="sldNum" sz="quarter" idx="4"/>
          </p:nvPr>
        </p:nvSpPr>
        <p:spPr/>
        <p:txBody>
          <a:bodyPr/>
          <a:lstStyle/>
          <a:p>
            <a:fld id="{01ED78C3-3A94-496B-9AE8-73034C580365}" type="slidenum">
              <a:rPr lang="en-US" smtClean="0"/>
              <a:pPr/>
              <a:t>15</a:t>
            </a:fld>
            <a:endParaRPr lang="en-US"/>
          </a:p>
        </p:txBody>
      </p:sp>
      <p:sp>
        <p:nvSpPr>
          <p:cNvPr id="11" name="Titel 10">
            <a:extLst>
              <a:ext uri="{FF2B5EF4-FFF2-40B4-BE49-F238E27FC236}">
                <a16:creationId xmlns:a16="http://schemas.microsoft.com/office/drawing/2014/main" id="{11C85C48-5EE2-486E-A7F0-229917B7BC0F}"/>
              </a:ext>
            </a:extLst>
          </p:cNvPr>
          <p:cNvSpPr>
            <a:spLocks noGrp="1"/>
          </p:cNvSpPr>
          <p:nvPr>
            <p:ph type="title"/>
          </p:nvPr>
        </p:nvSpPr>
        <p:spPr>
          <a:xfrm>
            <a:off x="5671339" y="360000"/>
            <a:ext cx="5780252" cy="886397"/>
          </a:xfrm>
        </p:spPr>
        <p:txBody>
          <a:bodyPr/>
          <a:lstStyle/>
          <a:p>
            <a:r>
              <a:rPr lang="nl-NL" dirty="0" err="1"/>
              <a:t>Thank</a:t>
            </a:r>
            <a:r>
              <a:rPr lang="nl-NL" dirty="0"/>
              <a:t> </a:t>
            </a:r>
            <a:r>
              <a:rPr lang="nl-NL" dirty="0" err="1"/>
              <a:t>you</a:t>
            </a:r>
            <a:r>
              <a:rPr lang="nl-NL" dirty="0"/>
              <a:t>!</a:t>
            </a:r>
            <a:br>
              <a:rPr lang="nl-NL" dirty="0"/>
            </a:br>
            <a:r>
              <a:rPr lang="nl-NL" dirty="0" err="1"/>
              <a:t>Any</a:t>
            </a:r>
            <a:r>
              <a:rPr lang="nl-NL" dirty="0"/>
              <a:t> </a:t>
            </a:r>
            <a:r>
              <a:rPr lang="nl-NL" dirty="0" err="1"/>
              <a:t>questions</a:t>
            </a:r>
            <a:r>
              <a:rPr lang="nl-NL" dirty="0"/>
              <a:t>?</a:t>
            </a:r>
          </a:p>
        </p:txBody>
      </p:sp>
      <p:sp>
        <p:nvSpPr>
          <p:cNvPr id="2" name="Tekstvak 1">
            <a:extLst>
              <a:ext uri="{FF2B5EF4-FFF2-40B4-BE49-F238E27FC236}">
                <a16:creationId xmlns:a16="http://schemas.microsoft.com/office/drawing/2014/main" id="{95487FC8-57A5-4F09-ACE7-D091C62E0740}"/>
              </a:ext>
            </a:extLst>
          </p:cNvPr>
          <p:cNvSpPr txBox="1"/>
          <p:nvPr/>
        </p:nvSpPr>
        <p:spPr>
          <a:xfrm>
            <a:off x="7248167" y="5876668"/>
            <a:ext cx="3213965" cy="369332"/>
          </a:xfrm>
          <a:prstGeom prst="rect">
            <a:avLst/>
          </a:prstGeom>
          <a:noFill/>
        </p:spPr>
        <p:txBody>
          <a:bodyPr wrap="square" lIns="0" tIns="0" rIns="0" bIns="0" rtlCol="0">
            <a:spAutoFit/>
          </a:bodyPr>
          <a:lstStyle/>
          <a:p>
            <a:pPr algn="l"/>
            <a:r>
              <a:rPr lang="nl-NL" sz="2400" b="1" dirty="0">
                <a:solidFill>
                  <a:srgbClr val="C00000"/>
                </a:solidFill>
              </a:rPr>
              <a:t>&gt;&gt; www.aiar.nl &lt;&lt;</a:t>
            </a:r>
          </a:p>
        </p:txBody>
      </p:sp>
    </p:spTree>
    <p:extLst>
      <p:ext uri="{BB962C8B-B14F-4D97-AF65-F5344CB8AC3E}">
        <p14:creationId xmlns:p14="http://schemas.microsoft.com/office/powerpoint/2010/main" val="23192919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8F9F5D-1750-4608-82AC-4DFB9077E2A0}"/>
              </a:ext>
            </a:extLst>
          </p:cNvPr>
          <p:cNvSpPr>
            <a:spLocks noGrp="1"/>
          </p:cNvSpPr>
          <p:nvPr>
            <p:ph type="title"/>
          </p:nvPr>
        </p:nvSpPr>
        <p:spPr/>
        <p:txBody>
          <a:bodyPr/>
          <a:lstStyle/>
          <a:p>
            <a:r>
              <a:rPr lang="nl-NL" dirty="0" err="1"/>
              <a:t>References</a:t>
            </a:r>
            <a:endParaRPr lang="nl-NL" dirty="0"/>
          </a:p>
        </p:txBody>
      </p:sp>
      <p:sp>
        <p:nvSpPr>
          <p:cNvPr id="3" name="Tijdelijke aanduiding voor dianummer 2">
            <a:extLst>
              <a:ext uri="{FF2B5EF4-FFF2-40B4-BE49-F238E27FC236}">
                <a16:creationId xmlns:a16="http://schemas.microsoft.com/office/drawing/2014/main" id="{FEB7C334-85C9-4A8C-8A01-2E83D58641BE}"/>
              </a:ext>
            </a:extLst>
          </p:cNvPr>
          <p:cNvSpPr>
            <a:spLocks noGrp="1"/>
          </p:cNvSpPr>
          <p:nvPr>
            <p:ph type="sldNum" sz="quarter" idx="4"/>
          </p:nvPr>
        </p:nvSpPr>
        <p:spPr/>
        <p:txBody>
          <a:bodyPr/>
          <a:lstStyle/>
          <a:p>
            <a:fld id="{01ED78C3-3A94-496B-9AE8-73034C580365}" type="slidenum">
              <a:rPr lang="en-US" smtClean="0"/>
              <a:pPr/>
              <a:t>16</a:t>
            </a:fld>
            <a:endParaRPr lang="en-US"/>
          </a:p>
        </p:txBody>
      </p:sp>
      <p:sp>
        <p:nvSpPr>
          <p:cNvPr id="4" name="Tekstvak 3">
            <a:extLst>
              <a:ext uri="{FF2B5EF4-FFF2-40B4-BE49-F238E27FC236}">
                <a16:creationId xmlns:a16="http://schemas.microsoft.com/office/drawing/2014/main" id="{03F262E6-50DD-BD42-3FA6-432BFFE9F8FC}"/>
              </a:ext>
            </a:extLst>
          </p:cNvPr>
          <p:cNvSpPr txBox="1"/>
          <p:nvPr/>
        </p:nvSpPr>
        <p:spPr>
          <a:xfrm>
            <a:off x="485775" y="1181100"/>
            <a:ext cx="11315700" cy="4647426"/>
          </a:xfrm>
          <a:prstGeom prst="rect">
            <a:avLst/>
          </a:prstGeom>
          <a:noFill/>
        </p:spPr>
        <p:txBody>
          <a:bodyPr wrap="square" lIns="0" tIns="0" rIns="0" bIns="0" rtlCol="0">
            <a:spAutoFit/>
          </a:bodyPr>
          <a:lstStyle/>
          <a:p>
            <a:pPr algn="l"/>
            <a:r>
              <a:rPr lang="en-GB" sz="1400" baseline="30000" dirty="0">
                <a:effectLst/>
                <a:latin typeface="Calibri" panose="020F0502020204030204" pitchFamily="34" charset="0"/>
                <a:ea typeface="Calibri" panose="020F0502020204030204" pitchFamily="34" charset="0"/>
                <a:cs typeface="Calibri" panose="020F0502020204030204" pitchFamily="34" charset="0"/>
              </a:rPr>
              <a:t>1 </a:t>
            </a:r>
            <a:r>
              <a:rPr lang="en-US" sz="1400" b="0" i="0" u="none" strike="noStrike" baseline="0" dirty="0">
                <a:solidFill>
                  <a:srgbClr val="000000"/>
                </a:solidFill>
                <a:latin typeface="AdvOT46dcae81"/>
              </a:rPr>
              <a:t>United Nations Office on Drugs and Crime. (</a:t>
            </a:r>
            <a:r>
              <a:rPr lang="en-US" sz="1400" b="0" i="0" u="none" strike="noStrike" baseline="0" dirty="0">
                <a:solidFill>
                  <a:srgbClr val="000081"/>
                </a:solidFill>
                <a:latin typeface="AdvOT46dcae81"/>
              </a:rPr>
              <a:t>2021</a:t>
            </a:r>
            <a:r>
              <a:rPr lang="en-US" sz="1400" b="0" i="0" u="none" strike="noStrike" baseline="0" dirty="0">
                <a:solidFill>
                  <a:srgbClr val="000000"/>
                </a:solidFill>
                <a:latin typeface="AdvOT46dcae81"/>
              </a:rPr>
              <a:t>)., </a:t>
            </a:r>
            <a:r>
              <a:rPr lang="en-US" sz="1400" b="0" i="0" u="none" strike="noStrike" baseline="0" dirty="0">
                <a:solidFill>
                  <a:srgbClr val="000000"/>
                </a:solidFill>
                <a:latin typeface="AdvOT65f8a23b.I"/>
              </a:rPr>
              <a:t>World drug report 2021: Global overview, drug demand drug supply </a:t>
            </a:r>
            <a:r>
              <a:rPr lang="en-US" sz="1400" b="0" i="0" u="none" strike="noStrike" baseline="0" dirty="0">
                <a:solidFill>
                  <a:srgbClr val="000000"/>
                </a:solidFill>
                <a:latin typeface="AdvOT46dcae81"/>
              </a:rPr>
              <a:t>(United Nations publication, Sales No. E.21.XI.8). </a:t>
            </a:r>
            <a:r>
              <a:rPr lang="en-US" sz="1400" b="0" i="0" u="none" strike="noStrike" baseline="0" dirty="0">
                <a:solidFill>
                  <a:srgbClr val="000081"/>
                </a:solidFill>
                <a:latin typeface="AdvOT46dcae81"/>
              </a:rPr>
              <a:t>http://www.unodc.org/unodc/en/dataand-</a:t>
            </a:r>
            <a:r>
              <a:rPr lang="nl-NL" sz="1400" b="0" i="0" u="none" strike="noStrike" baseline="0" dirty="0">
                <a:solidFill>
                  <a:srgbClr val="000081"/>
                </a:solidFill>
                <a:latin typeface="AdvOT46dcae81"/>
              </a:rPr>
              <a:t>analysis/wdr2021.html</a:t>
            </a:r>
          </a:p>
          <a:p>
            <a:pPr algn="l"/>
            <a:r>
              <a:rPr lang="en-GB" sz="1400" baseline="30000" dirty="0">
                <a:effectLst/>
                <a:latin typeface="Calibri" panose="020F0502020204030204" pitchFamily="34" charset="0"/>
                <a:ea typeface="Calibri" panose="020F0502020204030204" pitchFamily="34" charset="0"/>
                <a:cs typeface="Calibri" panose="020F0502020204030204" pitchFamily="34" charset="0"/>
              </a:rPr>
              <a:t>2 </a:t>
            </a:r>
            <a:r>
              <a:rPr lang="en-US" sz="1400" b="0" i="0" u="none" strike="noStrike" baseline="0" dirty="0">
                <a:solidFill>
                  <a:srgbClr val="000000"/>
                </a:solidFill>
                <a:latin typeface="AdvOT46dcae81"/>
              </a:rPr>
              <a:t>World Health Organization. (</a:t>
            </a:r>
            <a:r>
              <a:rPr lang="en-US" sz="1400" b="0" i="0" u="none" strike="noStrike" baseline="0" dirty="0">
                <a:solidFill>
                  <a:srgbClr val="000081"/>
                </a:solidFill>
                <a:latin typeface="AdvOT46dcae81"/>
              </a:rPr>
              <a:t>2011</a:t>
            </a:r>
            <a:r>
              <a:rPr lang="en-US" sz="1400" b="0" i="0" u="none" strike="noStrike" baseline="0" dirty="0">
                <a:solidFill>
                  <a:srgbClr val="000000"/>
                </a:solidFill>
                <a:latin typeface="AdvOT46dcae81"/>
              </a:rPr>
              <a:t>). </a:t>
            </a:r>
            <a:r>
              <a:rPr lang="en-US" sz="1400" b="0" i="0" u="none" strike="noStrike" baseline="0" dirty="0">
                <a:solidFill>
                  <a:srgbClr val="000000"/>
                </a:solidFill>
                <a:latin typeface="AdvOT65f8a23b.I"/>
              </a:rPr>
              <a:t>Global status report on alcohol and health </a:t>
            </a:r>
            <a:r>
              <a:rPr lang="en-US" sz="1400" b="0" i="0" u="none" strike="noStrike" baseline="0" dirty="0">
                <a:solidFill>
                  <a:srgbClr val="000000"/>
                </a:solidFill>
                <a:latin typeface="AdvOT46dcae81"/>
              </a:rPr>
              <a:t>(</a:t>
            </a:r>
            <a:r>
              <a:rPr lang="en-US" sz="1400" b="0" i="0" u="none" strike="noStrike" baseline="0" dirty="0" err="1">
                <a:solidFill>
                  <a:srgbClr val="000000"/>
                </a:solidFill>
                <a:latin typeface="AdvOT46dcae81"/>
              </a:rPr>
              <a:t>Licence</a:t>
            </a:r>
            <a:r>
              <a:rPr lang="en-US" sz="1400" b="0" i="0" u="none" strike="noStrike" baseline="0" dirty="0">
                <a:solidFill>
                  <a:srgbClr val="000000"/>
                </a:solidFill>
                <a:latin typeface="AdvOT46dcae81"/>
              </a:rPr>
              <a:t>: CC BY-NC-SA 3.0 IGO). </a:t>
            </a:r>
            <a:r>
              <a:rPr lang="en-US" sz="1400" b="0" i="0" u="none" strike="noStrike" baseline="0" dirty="0">
                <a:solidFill>
                  <a:srgbClr val="000081"/>
                </a:solidFill>
                <a:latin typeface="AdvOT46dcae81"/>
                <a:hlinkClick r:id="rId3"/>
              </a:rPr>
              <a:t>https://apps.who.int/iris/rest/</a:t>
            </a:r>
            <a:r>
              <a:rPr lang="nl-NL" sz="1400" b="0" i="0" u="none" strike="noStrike" baseline="0" dirty="0" err="1">
                <a:solidFill>
                  <a:srgbClr val="000081"/>
                </a:solidFill>
                <a:latin typeface="AdvOT46dcae81"/>
                <a:hlinkClick r:id="rId3"/>
              </a:rPr>
              <a:t>bitstreams</a:t>
            </a:r>
            <a:r>
              <a:rPr lang="nl-NL" sz="1400" b="0" i="0" u="none" strike="noStrike" baseline="0" dirty="0">
                <a:solidFill>
                  <a:srgbClr val="000081"/>
                </a:solidFill>
                <a:latin typeface="AdvOT46dcae81"/>
                <a:hlinkClick r:id="rId3"/>
              </a:rPr>
              <a:t>/1151838/</a:t>
            </a:r>
            <a:r>
              <a:rPr lang="nl-NL" sz="1400" b="0" i="0" u="none" strike="noStrike" baseline="0" dirty="0" err="1">
                <a:solidFill>
                  <a:srgbClr val="000081"/>
                </a:solidFill>
                <a:latin typeface="AdvOT46dcae81"/>
                <a:hlinkClick r:id="rId3"/>
              </a:rPr>
              <a:t>retrieve</a:t>
            </a:r>
            <a:endParaRPr lang="nl-NL" sz="1400" b="0" i="0" u="none" strike="noStrike" baseline="0" dirty="0">
              <a:solidFill>
                <a:srgbClr val="000081"/>
              </a:solidFill>
              <a:latin typeface="AdvOT46dcae81"/>
            </a:endParaRPr>
          </a:p>
          <a:p>
            <a:pPr algn="l"/>
            <a:r>
              <a:rPr lang="en-GB" sz="1400" baseline="30000" dirty="0">
                <a:latin typeface="Calibri" panose="020F0502020204030204" pitchFamily="34" charset="0"/>
                <a:cs typeface="Calibri" panose="020F0502020204030204" pitchFamily="34" charset="0"/>
              </a:rPr>
              <a:t>3 </a:t>
            </a:r>
            <a:r>
              <a:rPr lang="it-IT" sz="1400" b="0" i="0" u="none" strike="noStrike" baseline="0" dirty="0">
                <a:solidFill>
                  <a:srgbClr val="000000"/>
                </a:solidFill>
                <a:latin typeface="AdvOT46dcae81"/>
              </a:rPr>
              <a:t>Arcidiacono, C., Velleman, R., Procentese, F., Berti, P., Albanesi, C., </a:t>
            </a:r>
            <a:r>
              <a:rPr lang="en-US" sz="1400" b="0" i="0" u="none" strike="noStrike" baseline="0" dirty="0" err="1">
                <a:solidFill>
                  <a:srgbClr val="000000"/>
                </a:solidFill>
                <a:latin typeface="AdvOT46dcae81"/>
              </a:rPr>
              <a:t>Sommantico</a:t>
            </a:r>
            <a:r>
              <a:rPr lang="en-US" sz="1400" b="0" i="0" u="none" strike="noStrike" baseline="0" dirty="0">
                <a:solidFill>
                  <a:srgbClr val="000000"/>
                </a:solidFill>
                <a:latin typeface="AdvOT46dcae81"/>
              </a:rPr>
              <a:t>, M., &amp; </a:t>
            </a:r>
            <a:r>
              <a:rPr lang="en-US" sz="1400" b="0" i="0" u="none" strike="noStrike" baseline="0" dirty="0" err="1">
                <a:solidFill>
                  <a:srgbClr val="000000"/>
                </a:solidFill>
                <a:latin typeface="AdvOT46dcae81"/>
              </a:rPr>
              <a:t>Copello</a:t>
            </a:r>
            <a:r>
              <a:rPr lang="en-US" sz="1400" b="0" i="0" u="none" strike="noStrike" baseline="0" dirty="0">
                <a:solidFill>
                  <a:srgbClr val="000000"/>
                </a:solidFill>
                <a:latin typeface="AdvOT46dcae81"/>
              </a:rPr>
              <a:t>, A. (</a:t>
            </a:r>
            <a:r>
              <a:rPr lang="en-US" sz="1400" b="0" i="0" u="none" strike="noStrike" baseline="0" dirty="0">
                <a:solidFill>
                  <a:srgbClr val="000081"/>
                </a:solidFill>
                <a:latin typeface="AdvOT46dcae81"/>
              </a:rPr>
              <a:t>2010</a:t>
            </a:r>
            <a:r>
              <a:rPr lang="en-US" sz="1400" b="0" i="0" u="none" strike="noStrike" baseline="0" dirty="0">
                <a:solidFill>
                  <a:srgbClr val="000000"/>
                </a:solidFill>
                <a:latin typeface="AdvOT46dcae81"/>
              </a:rPr>
              <a:t>). Italian families living with relatives with alcohol or drugs problems. </a:t>
            </a:r>
            <a:r>
              <a:rPr lang="en-US" sz="1400" b="0" i="1" u="none" strike="noStrike" baseline="0" dirty="0">
                <a:solidFill>
                  <a:srgbClr val="000000"/>
                </a:solidFill>
                <a:latin typeface="AdvOT65f8a23b.I"/>
              </a:rPr>
              <a:t>Drugs: Education, Prevention and </a:t>
            </a:r>
            <a:r>
              <a:rPr lang="pl-PL" sz="1400" b="0" i="1" u="none" strike="noStrike" baseline="0" dirty="0">
                <a:solidFill>
                  <a:srgbClr val="000000"/>
                </a:solidFill>
                <a:latin typeface="AdvOT65f8a23b.I"/>
              </a:rPr>
              <a:t>Policy</a:t>
            </a:r>
            <a:r>
              <a:rPr lang="pl-PL" sz="1400" b="0" i="1" u="none" strike="noStrike" baseline="0" dirty="0">
                <a:solidFill>
                  <a:srgbClr val="000000"/>
                </a:solidFill>
                <a:latin typeface="AdvOT46dcae81"/>
              </a:rPr>
              <a:t>, </a:t>
            </a:r>
            <a:r>
              <a:rPr lang="pl-PL" sz="1400" b="0" i="1" u="none" strike="noStrike" baseline="0" dirty="0">
                <a:solidFill>
                  <a:srgbClr val="000000"/>
                </a:solidFill>
                <a:latin typeface="AdvOT65f8a23b.I"/>
              </a:rPr>
              <a:t>17</a:t>
            </a:r>
            <a:r>
              <a:rPr lang="pl-PL" sz="1400" b="0" i="0" u="none" strike="noStrike" baseline="0" dirty="0">
                <a:solidFill>
                  <a:srgbClr val="000000"/>
                </a:solidFill>
                <a:latin typeface="AdvOT46dcae81"/>
              </a:rPr>
              <a:t>(6), 659</a:t>
            </a:r>
            <a:r>
              <a:rPr lang="pl-PL" sz="1400" b="0" i="0" u="none" strike="noStrike" baseline="0" dirty="0">
                <a:solidFill>
                  <a:srgbClr val="000000"/>
                </a:solidFill>
                <a:latin typeface="AdvOT46dcae81+20"/>
              </a:rPr>
              <a:t>–</a:t>
            </a:r>
            <a:r>
              <a:rPr lang="pl-PL" sz="1400" b="0" i="0" u="none" strike="noStrike" baseline="0" dirty="0">
                <a:solidFill>
                  <a:srgbClr val="000000"/>
                </a:solidFill>
                <a:latin typeface="AdvOT46dcae81"/>
              </a:rPr>
              <a:t>680. </a:t>
            </a:r>
            <a:r>
              <a:rPr lang="pl-PL" sz="1400" b="0" i="0" u="none" strike="noStrike" baseline="0" dirty="0">
                <a:solidFill>
                  <a:srgbClr val="000081"/>
                </a:solidFill>
                <a:latin typeface="AdvOT46dcae81"/>
                <a:hlinkClick r:id="rId4"/>
              </a:rPr>
              <a:t>https://doi.org/10.3109/09687630902824262</a:t>
            </a:r>
            <a:endParaRPr lang="nl-NL" sz="1400" b="0" i="0" u="none" strike="noStrike" baseline="0" dirty="0">
              <a:solidFill>
                <a:srgbClr val="000081"/>
              </a:solidFill>
              <a:latin typeface="AdvOT46dcae81"/>
            </a:endParaRPr>
          </a:p>
          <a:p>
            <a:pPr algn="l"/>
            <a:r>
              <a:rPr lang="en-GB" sz="1400" baseline="30000" dirty="0">
                <a:latin typeface="Calibri" panose="020F0502020204030204" pitchFamily="34" charset="0"/>
                <a:cs typeface="Calibri" panose="020F0502020204030204" pitchFamily="34" charset="0"/>
              </a:rPr>
              <a:t>4 </a:t>
            </a:r>
            <a:r>
              <a:rPr lang="en-US" sz="1400" b="0" i="0" u="none" strike="noStrike" baseline="0" dirty="0">
                <a:solidFill>
                  <a:srgbClr val="000000"/>
                </a:solidFill>
                <a:latin typeface="AdvOT46dcae81"/>
              </a:rPr>
              <a:t>Asante, K., &amp; </a:t>
            </a:r>
            <a:r>
              <a:rPr lang="en-US" sz="1400" b="0" i="0" u="none" strike="noStrike" baseline="0" dirty="0" err="1">
                <a:solidFill>
                  <a:srgbClr val="000000"/>
                </a:solidFill>
                <a:latin typeface="AdvOT46dcae81"/>
              </a:rPr>
              <a:t>Lentoor</a:t>
            </a:r>
            <a:r>
              <a:rPr lang="en-US" sz="1400" b="0" i="0" u="none" strike="noStrike" baseline="0" dirty="0">
                <a:solidFill>
                  <a:srgbClr val="000000"/>
                </a:solidFill>
                <a:latin typeface="AdvOT46dcae81"/>
              </a:rPr>
              <a:t>, A. (</a:t>
            </a:r>
            <a:r>
              <a:rPr lang="en-US" sz="1400" b="0" i="0" u="none" strike="noStrike" baseline="0" dirty="0">
                <a:solidFill>
                  <a:srgbClr val="000081"/>
                </a:solidFill>
                <a:latin typeface="AdvOT46dcae81"/>
              </a:rPr>
              <a:t>2017</a:t>
            </a:r>
            <a:r>
              <a:rPr lang="en-US" sz="1400" b="0" i="0" u="none" strike="noStrike" baseline="0" dirty="0">
                <a:solidFill>
                  <a:srgbClr val="000000"/>
                </a:solidFill>
                <a:latin typeface="AdvOT46dcae81"/>
              </a:rPr>
              <a:t>). Use of crystal methamphetamine among male adolescents in Cape Town, South Africa: Caregivers</a:t>
            </a:r>
            <a:r>
              <a:rPr lang="en-US" sz="1400" b="0" i="0" u="none" strike="noStrike" baseline="0" dirty="0">
                <a:solidFill>
                  <a:srgbClr val="000000"/>
                </a:solidFill>
                <a:latin typeface="AdvOT46dcae81+20"/>
              </a:rPr>
              <a:t>’ </a:t>
            </a:r>
            <a:r>
              <a:rPr lang="en-US" sz="1400" b="0" i="0" u="none" strike="noStrike" baseline="0" dirty="0">
                <a:solidFill>
                  <a:srgbClr val="000000"/>
                </a:solidFill>
                <a:latin typeface="AdvOT46dcae81"/>
              </a:rPr>
              <a:t>experiences. </a:t>
            </a:r>
            <a:r>
              <a:rPr lang="en-US" sz="1400" b="0" i="1" u="none" strike="noStrike" baseline="0" dirty="0">
                <a:solidFill>
                  <a:srgbClr val="000000"/>
                </a:solidFill>
                <a:latin typeface="AdvOT65f8a23b.I"/>
              </a:rPr>
              <a:t>Substance Abuse Treatment, Prevention, and Policy</a:t>
            </a:r>
            <a:r>
              <a:rPr lang="en-US" sz="1400" b="0" i="1" u="none" strike="noStrike" baseline="0" dirty="0">
                <a:solidFill>
                  <a:srgbClr val="000000"/>
                </a:solidFill>
                <a:latin typeface="AdvOT46dcae81"/>
              </a:rPr>
              <a:t>, </a:t>
            </a:r>
            <a:r>
              <a:rPr lang="en-US" sz="1400" b="0" i="1" u="none" strike="noStrike" baseline="0" dirty="0">
                <a:solidFill>
                  <a:srgbClr val="000000"/>
                </a:solidFill>
                <a:latin typeface="AdvOT65f8a23b.I"/>
              </a:rPr>
              <a:t>12</a:t>
            </a:r>
            <a:r>
              <a:rPr lang="en-US" sz="1400" b="0" i="0" u="none" strike="noStrike" baseline="0" dirty="0">
                <a:solidFill>
                  <a:srgbClr val="000000"/>
                </a:solidFill>
                <a:latin typeface="AdvOT46dcae81"/>
              </a:rPr>
              <a:t>(1), 18. </a:t>
            </a:r>
            <a:r>
              <a:rPr lang="en-US" sz="1400" b="0" i="0" u="none" strike="noStrike" baseline="0" dirty="0">
                <a:solidFill>
                  <a:srgbClr val="000081"/>
                </a:solidFill>
                <a:latin typeface="AdvOT46dcae81"/>
                <a:hlinkClick r:id="rId5"/>
              </a:rPr>
              <a:t>https://</a:t>
            </a:r>
            <a:r>
              <a:rPr lang="nl-NL" sz="1400" b="0" i="0" u="none" strike="noStrike" baseline="0" dirty="0">
                <a:solidFill>
                  <a:srgbClr val="000081"/>
                </a:solidFill>
                <a:latin typeface="AdvOT46dcae81"/>
                <a:hlinkClick r:id="rId5"/>
              </a:rPr>
              <a:t>doi.org/10.1186/s13011-017-0102-9</a:t>
            </a:r>
            <a:endParaRPr lang="nl-NL" sz="1400" b="0" i="0" u="none" strike="noStrike" baseline="0" dirty="0">
              <a:solidFill>
                <a:srgbClr val="000081"/>
              </a:solidFill>
              <a:latin typeface="AdvOT46dcae81"/>
            </a:endParaRPr>
          </a:p>
          <a:p>
            <a:pPr algn="l"/>
            <a:r>
              <a:rPr lang="en-GB" sz="1400" baseline="30000" dirty="0">
                <a:latin typeface="Calibri" panose="020F0502020204030204" pitchFamily="34" charset="0"/>
                <a:cs typeface="Calibri" panose="020F0502020204030204" pitchFamily="34" charset="0"/>
              </a:rPr>
              <a:t>5 </a:t>
            </a:r>
            <a:r>
              <a:rPr lang="en-US" sz="1400" b="0" i="0" u="none" strike="noStrike" baseline="0" dirty="0" err="1">
                <a:solidFill>
                  <a:srgbClr val="000000"/>
                </a:solidFill>
                <a:latin typeface="AdvOT46dcae81"/>
              </a:rPr>
              <a:t>Dayal</a:t>
            </a:r>
            <a:r>
              <a:rPr lang="en-US" sz="1400" b="0" i="0" u="none" strike="noStrike" baseline="0" dirty="0">
                <a:solidFill>
                  <a:srgbClr val="000000"/>
                </a:solidFill>
                <a:latin typeface="AdvOT46dcae81"/>
              </a:rPr>
              <a:t>, P., </a:t>
            </a:r>
            <a:r>
              <a:rPr lang="en-US" sz="1400" b="0" i="0" u="none" strike="noStrike" baseline="0" dirty="0" err="1">
                <a:solidFill>
                  <a:srgbClr val="000000"/>
                </a:solidFill>
                <a:latin typeface="AdvOT46dcae81"/>
              </a:rPr>
              <a:t>Kaloiya</a:t>
            </a:r>
            <a:r>
              <a:rPr lang="en-US" sz="1400" b="0" i="0" u="none" strike="noStrike" baseline="0" dirty="0">
                <a:solidFill>
                  <a:srgbClr val="000000"/>
                </a:solidFill>
                <a:latin typeface="AdvOT46dcae81"/>
              </a:rPr>
              <a:t>, G. S., Khatoon, R., &amp; Sarkar, S. (</a:t>
            </a:r>
            <a:r>
              <a:rPr lang="en-US" sz="1400" b="0" i="0" u="none" strike="noStrike" baseline="0" dirty="0">
                <a:solidFill>
                  <a:srgbClr val="000081"/>
                </a:solidFill>
                <a:latin typeface="AdvOT46dcae81"/>
              </a:rPr>
              <a:t>2020</a:t>
            </a:r>
            <a:r>
              <a:rPr lang="en-US" sz="1400" b="0" i="0" u="none" strike="noStrike" baseline="0" dirty="0">
                <a:solidFill>
                  <a:srgbClr val="000000"/>
                </a:solidFill>
                <a:latin typeface="AdvOT46dcae81"/>
              </a:rPr>
              <a:t>). A study of stress, coping and strain among family members living with individuals with substance use disorder in India. </a:t>
            </a:r>
            <a:r>
              <a:rPr lang="en-US" sz="1400" b="0" i="1" u="none" strike="noStrike" baseline="0" dirty="0">
                <a:solidFill>
                  <a:srgbClr val="000000"/>
                </a:solidFill>
                <a:latin typeface="AdvOT65f8a23b.I"/>
              </a:rPr>
              <a:t>Drugs: Education, Prevention and </a:t>
            </a:r>
            <a:r>
              <a:rPr lang="pl-PL" sz="1400" b="0" i="1" u="none" strike="noStrike" baseline="0" dirty="0">
                <a:solidFill>
                  <a:srgbClr val="000000"/>
                </a:solidFill>
                <a:latin typeface="AdvOT65f8a23b.I"/>
              </a:rPr>
              <a:t>Policy</a:t>
            </a:r>
            <a:r>
              <a:rPr lang="pl-PL" sz="1400" b="0" i="1" u="none" strike="noStrike" baseline="0" dirty="0">
                <a:solidFill>
                  <a:srgbClr val="000000"/>
                </a:solidFill>
                <a:latin typeface="AdvOT46dcae81"/>
              </a:rPr>
              <a:t>, </a:t>
            </a:r>
            <a:r>
              <a:rPr lang="pl-PL" sz="1400" b="0" i="1" u="none" strike="noStrike" baseline="0" dirty="0">
                <a:solidFill>
                  <a:srgbClr val="000000"/>
                </a:solidFill>
                <a:latin typeface="AdvOT65f8a23b.I"/>
              </a:rPr>
              <a:t>27</a:t>
            </a:r>
            <a:r>
              <a:rPr lang="pl-PL" sz="1400" b="0" i="0" u="none" strike="noStrike" baseline="0" dirty="0">
                <a:solidFill>
                  <a:srgbClr val="000000"/>
                </a:solidFill>
                <a:latin typeface="AdvOT46dcae81"/>
              </a:rPr>
              <a:t>(5), 416</a:t>
            </a:r>
            <a:r>
              <a:rPr lang="pl-PL" sz="1400" b="0" i="0" u="none" strike="noStrike" baseline="0" dirty="0">
                <a:solidFill>
                  <a:srgbClr val="000000"/>
                </a:solidFill>
                <a:latin typeface="AdvOT46dcae81+20"/>
              </a:rPr>
              <a:t>–</a:t>
            </a:r>
            <a:r>
              <a:rPr lang="pl-PL" sz="1400" b="0" i="0" u="none" strike="noStrike" baseline="0" dirty="0">
                <a:solidFill>
                  <a:srgbClr val="000000"/>
                </a:solidFill>
                <a:latin typeface="AdvOT46dcae81"/>
              </a:rPr>
              <a:t>420. </a:t>
            </a:r>
            <a:r>
              <a:rPr lang="pl-PL" sz="1400" b="0" i="0" u="none" strike="noStrike" baseline="0" dirty="0">
                <a:solidFill>
                  <a:srgbClr val="000081"/>
                </a:solidFill>
                <a:latin typeface="AdvOT46dcae81"/>
                <a:hlinkClick r:id="rId6"/>
              </a:rPr>
              <a:t>https://doi.org/10.1080/09687637.2019.1705762</a:t>
            </a:r>
            <a:endParaRPr lang="nl-NL" sz="1400" b="0" i="0" u="none" strike="noStrike" baseline="0" dirty="0">
              <a:solidFill>
                <a:srgbClr val="000081"/>
              </a:solidFill>
              <a:latin typeface="AdvOT46dcae81"/>
            </a:endParaRPr>
          </a:p>
          <a:p>
            <a:pPr algn="l"/>
            <a:r>
              <a:rPr lang="en-GB" sz="1400" baseline="30000" dirty="0">
                <a:latin typeface="Calibri" panose="020F0502020204030204" pitchFamily="34" charset="0"/>
                <a:cs typeface="Calibri" panose="020F0502020204030204" pitchFamily="34" charset="0"/>
              </a:rPr>
              <a:t>6 </a:t>
            </a:r>
            <a:r>
              <a:rPr lang="nl-NL" sz="1400" b="0" i="0" u="none" strike="noStrike" baseline="0" dirty="0" err="1">
                <a:solidFill>
                  <a:srgbClr val="000000"/>
                </a:solidFill>
                <a:latin typeface="AdvOT46dcae81"/>
              </a:rPr>
              <a:t>Meulewaeter</a:t>
            </a:r>
            <a:r>
              <a:rPr lang="nl-NL" sz="1400" b="0" i="0" u="none" strike="noStrike" baseline="0" dirty="0">
                <a:solidFill>
                  <a:srgbClr val="000000"/>
                </a:solidFill>
                <a:latin typeface="AdvOT46dcae81"/>
              </a:rPr>
              <a:t>, F., De </a:t>
            </a:r>
            <a:r>
              <a:rPr lang="nl-NL" sz="1400" b="0" i="0" u="none" strike="noStrike" baseline="0" dirty="0" err="1">
                <a:solidFill>
                  <a:srgbClr val="000000"/>
                </a:solidFill>
                <a:latin typeface="AdvOT46dcae81"/>
              </a:rPr>
              <a:t>Schauwer</a:t>
            </a:r>
            <a:r>
              <a:rPr lang="nl-NL" sz="1400" b="0" i="0" u="none" strike="noStrike" baseline="0" dirty="0">
                <a:solidFill>
                  <a:srgbClr val="000000"/>
                </a:solidFill>
                <a:latin typeface="AdvOT46dcae81"/>
              </a:rPr>
              <a:t>, E., De Pauw, S. S., &amp; </a:t>
            </a:r>
            <a:r>
              <a:rPr lang="nl-NL" sz="1400" b="0" i="0" u="none" strike="noStrike" baseline="0" dirty="0" err="1">
                <a:solidFill>
                  <a:srgbClr val="000000"/>
                </a:solidFill>
                <a:latin typeface="AdvOT46dcae81"/>
              </a:rPr>
              <a:t>Vanderplasschen</a:t>
            </a:r>
            <a:r>
              <a:rPr lang="nl-NL" sz="1400" b="0" i="0" u="none" strike="noStrike" baseline="0" dirty="0">
                <a:solidFill>
                  <a:srgbClr val="000000"/>
                </a:solidFill>
                <a:latin typeface="AdvOT46dcae81"/>
              </a:rPr>
              <a:t>, W. </a:t>
            </a:r>
            <a:r>
              <a:rPr lang="en-US" sz="1400" b="0" i="0" u="none" strike="noStrike" baseline="0" dirty="0">
                <a:solidFill>
                  <a:srgbClr val="000000"/>
                </a:solidFill>
                <a:latin typeface="AdvOT46dcae81"/>
              </a:rPr>
              <a:t>(</a:t>
            </a:r>
            <a:r>
              <a:rPr lang="en-US" sz="1400" b="0" i="0" u="none" strike="noStrike" baseline="0" dirty="0">
                <a:solidFill>
                  <a:srgbClr val="000081"/>
                </a:solidFill>
                <a:latin typeface="AdvOT46dcae81"/>
              </a:rPr>
              <a:t>2022</a:t>
            </a:r>
            <a:r>
              <a:rPr lang="en-US" sz="1400" b="0" i="0" u="none" strike="noStrike" baseline="0" dirty="0">
                <a:solidFill>
                  <a:srgbClr val="000000"/>
                </a:solidFill>
                <a:latin typeface="AdvOT46dcae81"/>
              </a:rPr>
              <a:t>). </a:t>
            </a:r>
            <a:r>
              <a:rPr lang="en-US" sz="1400" b="0" i="0" u="none" strike="noStrike" baseline="0" dirty="0">
                <a:solidFill>
                  <a:srgbClr val="000000"/>
                </a:solidFill>
                <a:latin typeface="AdvOT46dcae81+20"/>
              </a:rPr>
              <a:t>“</a:t>
            </a:r>
            <a:r>
              <a:rPr lang="en-US" sz="1400" b="0" i="0" u="none" strike="noStrike" baseline="0" dirty="0">
                <a:solidFill>
                  <a:srgbClr val="000000"/>
                </a:solidFill>
                <a:latin typeface="AdvOT46dcae81"/>
              </a:rPr>
              <a:t>I grew up amidst alcohol and drugs:</a:t>
            </a:r>
            <a:r>
              <a:rPr lang="en-US" sz="1400" b="0" i="0" u="none" strike="noStrike" baseline="0" dirty="0">
                <a:solidFill>
                  <a:srgbClr val="000000"/>
                </a:solidFill>
                <a:latin typeface="AdvOT46dcae81+20"/>
              </a:rPr>
              <a:t>” </a:t>
            </a:r>
            <a:r>
              <a:rPr lang="en-US" sz="1400" b="0" i="0" u="none" strike="noStrike" baseline="0" dirty="0">
                <a:solidFill>
                  <a:srgbClr val="000000"/>
                </a:solidFill>
                <a:latin typeface="AdvOT46dcae81"/>
              </a:rPr>
              <a:t>A qualitative study on the lived experiences of parental substance use among adults who developed substance use disorders themselves</a:t>
            </a:r>
            <a:r>
              <a:rPr lang="en-US" sz="1400" b="0" i="1" u="none" strike="noStrike" baseline="0" dirty="0">
                <a:solidFill>
                  <a:srgbClr val="000000"/>
                </a:solidFill>
                <a:latin typeface="AdvOT46dcae81"/>
              </a:rPr>
              <a:t>. </a:t>
            </a:r>
            <a:r>
              <a:rPr lang="en-US" sz="1400" b="0" i="1" u="none" strike="noStrike" baseline="0" dirty="0">
                <a:solidFill>
                  <a:srgbClr val="000000"/>
                </a:solidFill>
                <a:latin typeface="AdvOT65f8a23b.I"/>
              </a:rPr>
              <a:t>Frontiers in Psychiatry</a:t>
            </a:r>
            <a:r>
              <a:rPr lang="en-US" sz="1400" b="0" i="1" u="none" strike="noStrike" baseline="0" dirty="0">
                <a:solidFill>
                  <a:srgbClr val="000000"/>
                </a:solidFill>
                <a:latin typeface="AdvOT46dcae81"/>
              </a:rPr>
              <a:t>, </a:t>
            </a:r>
            <a:r>
              <a:rPr lang="nl-NL" sz="1400" b="0" i="1" u="none" strike="noStrike" baseline="0" dirty="0">
                <a:solidFill>
                  <a:srgbClr val="000000"/>
                </a:solidFill>
                <a:latin typeface="AdvOT65f8a23b.I"/>
              </a:rPr>
              <a:t>13</a:t>
            </a:r>
            <a:r>
              <a:rPr lang="nl-NL" sz="1400" b="0" i="1" u="none" strike="noStrike" baseline="0" dirty="0">
                <a:solidFill>
                  <a:srgbClr val="000000"/>
                </a:solidFill>
                <a:latin typeface="AdvOT46dcae81"/>
              </a:rPr>
              <a:t>,</a:t>
            </a:r>
            <a:r>
              <a:rPr lang="nl-NL" sz="1400" b="0" i="0" u="none" strike="noStrike" baseline="0" dirty="0">
                <a:solidFill>
                  <a:srgbClr val="000000"/>
                </a:solidFill>
                <a:latin typeface="AdvOT46dcae81"/>
              </a:rPr>
              <a:t> 1</a:t>
            </a:r>
            <a:r>
              <a:rPr lang="nl-NL" sz="1400" b="0" i="0" u="none" strike="noStrike" baseline="0" dirty="0">
                <a:solidFill>
                  <a:srgbClr val="000000"/>
                </a:solidFill>
                <a:latin typeface="AdvOT46dcae81+20"/>
              </a:rPr>
              <a:t>–</a:t>
            </a:r>
            <a:r>
              <a:rPr lang="nl-NL" sz="1400" b="0" i="0" u="none" strike="noStrike" baseline="0" dirty="0">
                <a:solidFill>
                  <a:srgbClr val="000000"/>
                </a:solidFill>
                <a:latin typeface="AdvOT46dcae81"/>
              </a:rPr>
              <a:t>16. </a:t>
            </a:r>
            <a:r>
              <a:rPr lang="nl-NL" sz="1400" b="0" i="0" u="none" strike="noStrike" baseline="0" dirty="0">
                <a:solidFill>
                  <a:srgbClr val="000081"/>
                </a:solidFill>
                <a:latin typeface="AdvOT46dcae81"/>
              </a:rPr>
              <a:t>https://doi.org/10.3389/fpsyt.2022.768802</a:t>
            </a:r>
            <a:endParaRPr lang="en-GB" sz="1400" baseline="30000" dirty="0">
              <a:latin typeface="Calibri" panose="020F0502020204030204" pitchFamily="34" charset="0"/>
              <a:cs typeface="Calibri" panose="020F0502020204030204" pitchFamily="34" charset="0"/>
            </a:endParaRPr>
          </a:p>
          <a:p>
            <a:pPr algn="l"/>
            <a:r>
              <a:rPr lang="en-GB" sz="1400" baseline="30000" dirty="0">
                <a:latin typeface="Calibri" panose="020F0502020204030204" pitchFamily="34" charset="0"/>
                <a:cs typeface="Calibri" panose="020F0502020204030204" pitchFamily="34" charset="0"/>
              </a:rPr>
              <a:t>7 </a:t>
            </a:r>
            <a:r>
              <a:rPr lang="nl-NL" sz="1400" b="0" i="0" u="none" strike="noStrike" baseline="0" dirty="0" err="1">
                <a:solidFill>
                  <a:srgbClr val="000000"/>
                </a:solidFill>
                <a:latin typeface="AdvOT46dcae81"/>
              </a:rPr>
              <a:t>Olafsdottir</a:t>
            </a:r>
            <a:r>
              <a:rPr lang="nl-NL" sz="1400" b="0" i="0" u="none" strike="noStrike" baseline="0" dirty="0">
                <a:solidFill>
                  <a:srgbClr val="000000"/>
                </a:solidFill>
                <a:latin typeface="AdvOT46dcae81"/>
              </a:rPr>
              <a:t>, J., </a:t>
            </a:r>
            <a:r>
              <a:rPr lang="nl-NL" sz="1400" b="0" i="0" u="none" strike="noStrike" baseline="0" dirty="0" err="1">
                <a:solidFill>
                  <a:srgbClr val="000000"/>
                </a:solidFill>
                <a:latin typeface="AdvOT46dcae81"/>
              </a:rPr>
              <a:t>Hrafnsdottir</a:t>
            </a:r>
            <a:r>
              <a:rPr lang="nl-NL" sz="1400" b="0" i="0" u="none" strike="noStrike" baseline="0" dirty="0">
                <a:solidFill>
                  <a:srgbClr val="000000"/>
                </a:solidFill>
                <a:latin typeface="AdvOT46dcae81"/>
              </a:rPr>
              <a:t>, S., &amp; </a:t>
            </a:r>
            <a:r>
              <a:rPr lang="nl-NL" sz="1400" b="0" i="0" u="none" strike="noStrike" baseline="0" dirty="0" err="1">
                <a:solidFill>
                  <a:srgbClr val="000000"/>
                </a:solidFill>
                <a:latin typeface="AdvOT46dcae81"/>
              </a:rPr>
              <a:t>Orjasniemi</a:t>
            </a:r>
            <a:r>
              <a:rPr lang="nl-NL" sz="1400" b="0" i="0" u="none" strike="noStrike" baseline="0" dirty="0">
                <a:solidFill>
                  <a:srgbClr val="000000"/>
                </a:solidFill>
                <a:latin typeface="AdvOT46dcae81"/>
              </a:rPr>
              <a:t>, T. (</a:t>
            </a:r>
            <a:r>
              <a:rPr lang="nl-NL" sz="1400" b="0" i="0" u="none" strike="noStrike" baseline="0" dirty="0">
                <a:solidFill>
                  <a:srgbClr val="000081"/>
                </a:solidFill>
                <a:latin typeface="AdvOT46dcae81"/>
              </a:rPr>
              <a:t>2018</a:t>
            </a:r>
            <a:r>
              <a:rPr lang="nl-NL" sz="1400" b="0" i="0" u="none" strike="noStrike" baseline="0" dirty="0">
                <a:solidFill>
                  <a:srgbClr val="000000"/>
                </a:solidFill>
                <a:latin typeface="AdvOT46dcae81"/>
              </a:rPr>
              <a:t>). </a:t>
            </a:r>
            <a:r>
              <a:rPr lang="nl-NL" sz="1400" b="0" i="0" u="none" strike="noStrike" baseline="0" dirty="0" err="1">
                <a:solidFill>
                  <a:srgbClr val="000000"/>
                </a:solidFill>
                <a:latin typeface="AdvOT46dcae81"/>
              </a:rPr>
              <a:t>Depression</a:t>
            </a:r>
            <a:r>
              <a:rPr lang="nl-NL" sz="1400" b="0" i="0" u="none" strike="noStrike" baseline="0" dirty="0">
                <a:solidFill>
                  <a:srgbClr val="000000"/>
                </a:solidFill>
                <a:latin typeface="AdvOT46dcae81"/>
              </a:rPr>
              <a:t>, </a:t>
            </a:r>
            <a:r>
              <a:rPr lang="nl-NL" sz="1400" b="0" i="0" u="none" strike="noStrike" baseline="0" dirty="0" err="1">
                <a:solidFill>
                  <a:srgbClr val="000000"/>
                </a:solidFill>
                <a:latin typeface="AdvOT46dcae81"/>
              </a:rPr>
              <a:t>anxiety</a:t>
            </a:r>
            <a:r>
              <a:rPr lang="nl-NL" sz="1400" b="0" i="0" u="none" strike="noStrike" baseline="0" dirty="0">
                <a:solidFill>
                  <a:srgbClr val="000000"/>
                </a:solidFill>
                <a:latin typeface="AdvOT46dcae81"/>
              </a:rPr>
              <a:t>, </a:t>
            </a:r>
            <a:r>
              <a:rPr lang="en-US" sz="1400" b="0" i="0" u="none" strike="noStrike" baseline="0" dirty="0">
                <a:solidFill>
                  <a:srgbClr val="000000"/>
                </a:solidFill>
                <a:latin typeface="AdvOT46dcae81"/>
              </a:rPr>
              <a:t>and stress from substance-use disorder among family members in </a:t>
            </a:r>
            <a:r>
              <a:rPr lang="da-DK" sz="1400" b="0" i="0" u="none" strike="noStrike" baseline="0" dirty="0">
                <a:solidFill>
                  <a:srgbClr val="000000"/>
                </a:solidFill>
                <a:latin typeface="AdvOT46dcae81"/>
              </a:rPr>
              <a:t>Iceland. </a:t>
            </a:r>
            <a:r>
              <a:rPr lang="da-DK" sz="1400" b="0" i="1" u="none" strike="noStrike" baseline="0" dirty="0">
                <a:solidFill>
                  <a:srgbClr val="000000"/>
                </a:solidFill>
                <a:latin typeface="AdvOT65f8a23b.I"/>
              </a:rPr>
              <a:t>Nordisk Alkohol- &amp; Narkotikatidskrift: NAT</a:t>
            </a:r>
            <a:r>
              <a:rPr lang="da-DK" sz="1400" b="0" i="1" u="none" strike="noStrike" baseline="0" dirty="0">
                <a:solidFill>
                  <a:srgbClr val="000000"/>
                </a:solidFill>
                <a:latin typeface="AdvOT46dcae81"/>
              </a:rPr>
              <a:t>, </a:t>
            </a:r>
            <a:r>
              <a:rPr lang="da-DK" sz="1400" b="0" i="1" u="none" strike="noStrike" baseline="0" dirty="0">
                <a:solidFill>
                  <a:srgbClr val="000000"/>
                </a:solidFill>
                <a:latin typeface="AdvOT65f8a23b.I"/>
              </a:rPr>
              <a:t>35</a:t>
            </a:r>
            <a:r>
              <a:rPr lang="da-DK" sz="1400" b="0" i="0" u="none" strike="noStrike" baseline="0" dirty="0">
                <a:solidFill>
                  <a:srgbClr val="000000"/>
                </a:solidFill>
                <a:latin typeface="AdvOT46dcae81"/>
              </a:rPr>
              <a:t>(3), 165</a:t>
            </a:r>
            <a:r>
              <a:rPr lang="da-DK" sz="1400" b="0" i="0" u="none" strike="noStrike" baseline="0" dirty="0">
                <a:solidFill>
                  <a:srgbClr val="000000"/>
                </a:solidFill>
                <a:latin typeface="AdvOT46dcae81+20"/>
              </a:rPr>
              <a:t>–</a:t>
            </a:r>
            <a:r>
              <a:rPr lang="da-DK" sz="1400" b="0" i="0" u="none" strike="noStrike" baseline="0" dirty="0">
                <a:solidFill>
                  <a:srgbClr val="000000"/>
                </a:solidFill>
                <a:latin typeface="AdvOT46dcae81"/>
              </a:rPr>
              <a:t>178. </a:t>
            </a:r>
            <a:r>
              <a:rPr lang="nl-NL" sz="1400" b="0" i="0" u="none" strike="noStrike" baseline="0" dirty="0">
                <a:solidFill>
                  <a:srgbClr val="000081"/>
                </a:solidFill>
                <a:latin typeface="AdvOT46dcae81"/>
                <a:hlinkClick r:id="rId7"/>
              </a:rPr>
              <a:t>https://doi.org/10.1177/1455072518766129</a:t>
            </a:r>
            <a:endParaRPr lang="nl-NL" sz="1400" b="0" i="0" u="none" strike="noStrike" baseline="0" dirty="0">
              <a:solidFill>
                <a:srgbClr val="000081"/>
              </a:solidFill>
              <a:latin typeface="AdvOT46dcae81"/>
            </a:endParaRPr>
          </a:p>
          <a:p>
            <a:pPr algn="l"/>
            <a:r>
              <a:rPr lang="en-GB" sz="1400" b="0" i="0" u="none" strike="noStrike" baseline="30000" dirty="0">
                <a:solidFill>
                  <a:schemeClr val="tx2"/>
                </a:solidFill>
                <a:latin typeface="Calibri" panose="020F0502020204030204" pitchFamily="34" charset="0"/>
                <a:cs typeface="Calibri" panose="020F0502020204030204" pitchFamily="34" charset="0"/>
              </a:rPr>
              <a:t>8 </a:t>
            </a:r>
            <a:r>
              <a:rPr lang="en-US" sz="1400" b="0" i="0" u="none" strike="noStrike" baseline="0" dirty="0">
                <a:solidFill>
                  <a:srgbClr val="000000"/>
                </a:solidFill>
                <a:latin typeface="AdvOT46dcae81"/>
              </a:rPr>
              <a:t>Riley, B. J., Lawn, S. J., Crisp, B. R., &amp; Battersby, M. W. (</a:t>
            </a:r>
            <a:r>
              <a:rPr lang="en-US" sz="1400" b="0" i="0" u="none" strike="noStrike" baseline="0" dirty="0">
                <a:solidFill>
                  <a:srgbClr val="000081"/>
                </a:solidFill>
                <a:latin typeface="AdvOT46dcae81"/>
              </a:rPr>
              <a:t>2020</a:t>
            </a:r>
            <a:r>
              <a:rPr lang="en-US" sz="1400" b="0" i="0" u="none" strike="noStrike" baseline="0" dirty="0">
                <a:solidFill>
                  <a:srgbClr val="000000"/>
                </a:solidFill>
                <a:latin typeface="AdvOT46dcae81"/>
              </a:rPr>
              <a:t>). </a:t>
            </a:r>
            <a:r>
              <a:rPr lang="en-US" sz="1400" b="0" i="0" u="none" strike="noStrike" baseline="0" dirty="0">
                <a:solidFill>
                  <a:srgbClr val="000000"/>
                </a:solidFill>
                <a:latin typeface="AdvOT46dcae81+20"/>
              </a:rPr>
              <a:t>“</a:t>
            </a:r>
            <a:r>
              <a:rPr lang="en-US" sz="1400" b="0" i="0" u="none" strike="noStrike" baseline="0" dirty="0">
                <a:solidFill>
                  <a:srgbClr val="000000"/>
                </a:solidFill>
                <a:latin typeface="AdvOT46dcae81"/>
              </a:rPr>
              <a:t>When I</a:t>
            </a:r>
            <a:r>
              <a:rPr lang="en-US" sz="1400" b="0" i="0" u="none" strike="noStrike" baseline="0" dirty="0">
                <a:solidFill>
                  <a:srgbClr val="000000"/>
                </a:solidFill>
                <a:latin typeface="AdvOT46dcae81+20"/>
              </a:rPr>
              <a:t>’</a:t>
            </a:r>
            <a:r>
              <a:rPr lang="en-US" sz="1400" b="0" i="0" u="none" strike="noStrike" baseline="0" dirty="0">
                <a:solidFill>
                  <a:srgbClr val="000000"/>
                </a:solidFill>
                <a:latin typeface="AdvOT46dcae81"/>
              </a:rPr>
              <a:t>m not angry I am anxious</a:t>
            </a:r>
            <a:r>
              <a:rPr lang="en-US" sz="1400" b="0" i="0" u="none" strike="noStrike" baseline="0" dirty="0">
                <a:solidFill>
                  <a:srgbClr val="000000"/>
                </a:solidFill>
                <a:latin typeface="AdvOT46dcae81+20"/>
              </a:rPr>
              <a:t>”</a:t>
            </a:r>
            <a:r>
              <a:rPr lang="en-US" sz="1400" b="0" i="0" u="none" strike="noStrike" baseline="0" dirty="0">
                <a:solidFill>
                  <a:srgbClr val="000000"/>
                </a:solidFill>
                <a:latin typeface="AdvOT46dcae81"/>
              </a:rPr>
              <a:t>: The lived experiences of individuals in a relationship with a non-help-seeking problem gambler</a:t>
            </a:r>
            <a:r>
              <a:rPr lang="en-US" sz="1400" b="0" i="0" u="none" strike="noStrike" baseline="0" dirty="0">
                <a:solidFill>
                  <a:srgbClr val="000000"/>
                </a:solidFill>
                <a:latin typeface="AdvOT46dcae81+20"/>
              </a:rPr>
              <a:t>—</a:t>
            </a:r>
            <a:r>
              <a:rPr lang="en-US" sz="1400" b="0" i="0" u="none" strike="noStrike" baseline="0" dirty="0">
                <a:solidFill>
                  <a:srgbClr val="000000"/>
                </a:solidFill>
                <a:latin typeface="AdvOT46dcae81"/>
              </a:rPr>
              <a:t>A hermeneutic phenomenological study</a:t>
            </a:r>
            <a:r>
              <a:rPr lang="en-US" sz="1400" b="0" i="1" u="none" strike="noStrike" baseline="0" dirty="0">
                <a:solidFill>
                  <a:srgbClr val="000000"/>
                </a:solidFill>
                <a:latin typeface="AdvOT46dcae81"/>
              </a:rPr>
              <a:t>. </a:t>
            </a:r>
            <a:r>
              <a:rPr lang="en-US" sz="1400" b="0" i="1" u="none" strike="noStrike" baseline="0" dirty="0">
                <a:solidFill>
                  <a:srgbClr val="000000"/>
                </a:solidFill>
                <a:latin typeface="AdvOT65f8a23b.I"/>
              </a:rPr>
              <a:t>Journal of Social and Personal Relationships</a:t>
            </a:r>
            <a:r>
              <a:rPr lang="en-US" sz="1400" b="0" i="1" u="none" strike="noStrike" baseline="0" dirty="0">
                <a:solidFill>
                  <a:srgbClr val="000000"/>
                </a:solidFill>
                <a:latin typeface="AdvOT46dcae81"/>
              </a:rPr>
              <a:t>, </a:t>
            </a:r>
            <a:r>
              <a:rPr lang="nl-NL" sz="1400" b="0" i="1" u="none" strike="noStrike" baseline="0" dirty="0">
                <a:solidFill>
                  <a:srgbClr val="000000"/>
                </a:solidFill>
                <a:latin typeface="AdvOT65f8a23b.I"/>
              </a:rPr>
              <a:t>37</a:t>
            </a:r>
            <a:r>
              <a:rPr lang="nl-NL" sz="1400" b="0" i="0" u="none" strike="noStrike" baseline="0" dirty="0">
                <a:solidFill>
                  <a:srgbClr val="000000"/>
                </a:solidFill>
                <a:latin typeface="AdvOT46dcae81"/>
              </a:rPr>
              <a:t>(8-9), 2529</a:t>
            </a:r>
            <a:r>
              <a:rPr lang="nl-NL" sz="1400" b="0" i="0" u="none" strike="noStrike" baseline="0" dirty="0">
                <a:solidFill>
                  <a:srgbClr val="000000"/>
                </a:solidFill>
                <a:latin typeface="AdvOT46dcae81+20"/>
              </a:rPr>
              <a:t>–</a:t>
            </a:r>
            <a:r>
              <a:rPr lang="nl-NL" sz="1400" b="0" i="0" u="none" strike="noStrike" baseline="0" dirty="0">
                <a:solidFill>
                  <a:srgbClr val="000000"/>
                </a:solidFill>
                <a:latin typeface="AdvOT46dcae81"/>
              </a:rPr>
              <a:t>2550. </a:t>
            </a:r>
            <a:r>
              <a:rPr lang="nl-NL" sz="1400" b="0" i="0" u="none" strike="noStrike" baseline="0" dirty="0">
                <a:solidFill>
                  <a:srgbClr val="000081"/>
                </a:solidFill>
                <a:latin typeface="AdvOT46dcae81"/>
              </a:rPr>
              <a:t>https://doi.org/10.1177/0265407520928581</a:t>
            </a:r>
            <a:endParaRPr lang="en-GB" sz="1400" b="0" i="0" u="none" strike="noStrike" baseline="30000" dirty="0">
              <a:solidFill>
                <a:srgbClr val="000081"/>
              </a:solidFill>
              <a:latin typeface="Calibri" panose="020F0502020204030204" pitchFamily="34" charset="0"/>
              <a:cs typeface="Calibri" panose="020F0502020204030204" pitchFamily="34" charset="0"/>
            </a:endParaRPr>
          </a:p>
          <a:p>
            <a:pPr algn="l"/>
            <a:endParaRPr lang="nl-NL" sz="1600" b="0" i="0" u="none" strike="noStrike" baseline="0" dirty="0">
              <a:solidFill>
                <a:srgbClr val="000081"/>
              </a:solidFill>
              <a:latin typeface="AdvOT46dcae81"/>
            </a:endParaRPr>
          </a:p>
          <a:p>
            <a:pPr algn="l"/>
            <a:endParaRPr lang="en-GB" sz="1600" dirty="0">
              <a:latin typeface="MinionPro-Regular"/>
            </a:endParaRPr>
          </a:p>
          <a:p>
            <a:pPr algn="l"/>
            <a:endParaRPr lang="nl-NL" dirty="0" err="1"/>
          </a:p>
        </p:txBody>
      </p:sp>
    </p:spTree>
    <p:extLst>
      <p:ext uri="{BB962C8B-B14F-4D97-AF65-F5344CB8AC3E}">
        <p14:creationId xmlns:p14="http://schemas.microsoft.com/office/powerpoint/2010/main" val="33550727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8F9F5D-1750-4608-82AC-4DFB9077E2A0}"/>
              </a:ext>
            </a:extLst>
          </p:cNvPr>
          <p:cNvSpPr>
            <a:spLocks noGrp="1"/>
          </p:cNvSpPr>
          <p:nvPr>
            <p:ph type="title"/>
          </p:nvPr>
        </p:nvSpPr>
        <p:spPr/>
        <p:txBody>
          <a:bodyPr/>
          <a:lstStyle/>
          <a:p>
            <a:r>
              <a:rPr lang="nl-NL" dirty="0" err="1"/>
              <a:t>References</a:t>
            </a:r>
            <a:endParaRPr lang="nl-NL" dirty="0"/>
          </a:p>
        </p:txBody>
      </p:sp>
      <p:sp>
        <p:nvSpPr>
          <p:cNvPr id="3" name="Tijdelijke aanduiding voor dianummer 2">
            <a:extLst>
              <a:ext uri="{FF2B5EF4-FFF2-40B4-BE49-F238E27FC236}">
                <a16:creationId xmlns:a16="http://schemas.microsoft.com/office/drawing/2014/main" id="{FEB7C334-85C9-4A8C-8A01-2E83D58641BE}"/>
              </a:ext>
            </a:extLst>
          </p:cNvPr>
          <p:cNvSpPr>
            <a:spLocks noGrp="1"/>
          </p:cNvSpPr>
          <p:nvPr>
            <p:ph type="sldNum" sz="quarter" idx="4"/>
          </p:nvPr>
        </p:nvSpPr>
        <p:spPr/>
        <p:txBody>
          <a:bodyPr/>
          <a:lstStyle/>
          <a:p>
            <a:fld id="{01ED78C3-3A94-496B-9AE8-73034C580365}" type="slidenum">
              <a:rPr lang="en-US" smtClean="0"/>
              <a:pPr/>
              <a:t>17</a:t>
            </a:fld>
            <a:endParaRPr lang="en-US"/>
          </a:p>
        </p:txBody>
      </p:sp>
      <p:sp>
        <p:nvSpPr>
          <p:cNvPr id="4" name="Tekstvak 3">
            <a:extLst>
              <a:ext uri="{FF2B5EF4-FFF2-40B4-BE49-F238E27FC236}">
                <a16:creationId xmlns:a16="http://schemas.microsoft.com/office/drawing/2014/main" id="{03F262E6-50DD-BD42-3FA6-432BFFE9F8FC}"/>
              </a:ext>
            </a:extLst>
          </p:cNvPr>
          <p:cNvSpPr txBox="1"/>
          <p:nvPr/>
        </p:nvSpPr>
        <p:spPr>
          <a:xfrm>
            <a:off x="485775" y="1181100"/>
            <a:ext cx="11315700" cy="3282950"/>
          </a:xfrm>
          <a:prstGeom prst="rect">
            <a:avLst/>
          </a:prstGeom>
          <a:noFill/>
        </p:spPr>
        <p:txBody>
          <a:bodyPr wrap="square" lIns="0" tIns="0" rIns="0" bIns="0" rtlCol="0">
            <a:spAutoFit/>
          </a:bodyPr>
          <a:lstStyle/>
          <a:p>
            <a:pPr algn="l"/>
            <a:r>
              <a:rPr lang="en-GB" sz="1400" b="0" i="0" u="none" strike="noStrike" baseline="30000" dirty="0">
                <a:solidFill>
                  <a:srgbClr val="000081"/>
                </a:solidFill>
                <a:latin typeface="Calibri" panose="020F0502020204030204" pitchFamily="34" charset="0"/>
                <a:cs typeface="Calibri" panose="020F0502020204030204" pitchFamily="34" charset="0"/>
              </a:rPr>
              <a:t>9 </a:t>
            </a:r>
            <a:r>
              <a:rPr lang="nl-NL" sz="1400" b="0" i="0" u="none" strike="noStrike" baseline="0" dirty="0" err="1">
                <a:solidFill>
                  <a:srgbClr val="000000"/>
                </a:solidFill>
                <a:latin typeface="AdvOT46dcae81"/>
              </a:rPr>
              <a:t>Tasdemir</a:t>
            </a:r>
            <a:r>
              <a:rPr lang="nl-NL" sz="1400" b="0" i="0" u="none" strike="noStrike" baseline="0" dirty="0">
                <a:solidFill>
                  <a:srgbClr val="000000"/>
                </a:solidFill>
                <a:latin typeface="AdvOT46dcae81"/>
              </a:rPr>
              <a:t>, M., </a:t>
            </a:r>
            <a:r>
              <a:rPr lang="nl-NL" sz="1400" b="0" i="0" u="none" strike="noStrike" baseline="0" dirty="0" err="1">
                <a:solidFill>
                  <a:srgbClr val="000000"/>
                </a:solidFill>
                <a:latin typeface="AdvOT46dcae81"/>
              </a:rPr>
              <a:t>Kucukali</a:t>
            </a:r>
            <a:r>
              <a:rPr lang="nl-NL" sz="1400" b="0" i="0" u="none" strike="noStrike" baseline="0" dirty="0">
                <a:solidFill>
                  <a:srgbClr val="000000"/>
                </a:solidFill>
                <a:latin typeface="AdvOT46dcae81"/>
              </a:rPr>
              <a:t>, H., </a:t>
            </a:r>
            <a:r>
              <a:rPr lang="nl-NL" sz="1400" b="0" i="0" u="none" strike="noStrike" baseline="0" dirty="0" err="1">
                <a:solidFill>
                  <a:srgbClr val="000000"/>
                </a:solidFill>
                <a:latin typeface="AdvOT46dcae81"/>
              </a:rPr>
              <a:t>Ucar</a:t>
            </a:r>
            <a:r>
              <a:rPr lang="nl-NL" sz="1400" b="0" i="0" u="none" strike="noStrike" baseline="0" dirty="0">
                <a:solidFill>
                  <a:srgbClr val="000000"/>
                </a:solidFill>
                <a:latin typeface="AdvOT46dcae81"/>
              </a:rPr>
              <a:t>, A., &amp; </a:t>
            </a:r>
            <a:r>
              <a:rPr lang="nl-NL" sz="1400" b="0" i="0" u="none" strike="noStrike" baseline="0" dirty="0" err="1">
                <a:solidFill>
                  <a:srgbClr val="000000"/>
                </a:solidFill>
                <a:latin typeface="AdvOT46dcae81"/>
              </a:rPr>
              <a:t>Sur</a:t>
            </a:r>
            <a:r>
              <a:rPr lang="nl-NL" sz="1400" b="0" i="0" u="none" strike="noStrike" baseline="0" dirty="0">
                <a:solidFill>
                  <a:srgbClr val="000000"/>
                </a:solidFill>
                <a:latin typeface="AdvOT46dcae81"/>
              </a:rPr>
              <a:t>, H. (</a:t>
            </a:r>
            <a:r>
              <a:rPr lang="nl-NL" sz="1400" b="0" i="0" u="none" strike="noStrike" baseline="0" dirty="0">
                <a:solidFill>
                  <a:srgbClr val="000081"/>
                </a:solidFill>
                <a:latin typeface="AdvOT46dcae81"/>
              </a:rPr>
              <a:t>2021</a:t>
            </a:r>
            <a:r>
              <a:rPr lang="nl-NL" sz="1400" b="0" i="0" u="none" strike="noStrike" baseline="0" dirty="0">
                <a:solidFill>
                  <a:srgbClr val="000000"/>
                </a:solidFill>
                <a:latin typeface="AdvOT46dcae81"/>
              </a:rPr>
              <a:t>). </a:t>
            </a:r>
            <a:r>
              <a:rPr lang="nl-NL" sz="1400" b="0" i="0" u="none" strike="noStrike" baseline="0" dirty="0" err="1">
                <a:solidFill>
                  <a:srgbClr val="000000"/>
                </a:solidFill>
                <a:latin typeface="AdvOT46dcae81"/>
              </a:rPr>
              <a:t>Exploring</a:t>
            </a:r>
            <a:r>
              <a:rPr lang="nl-NL" sz="1400" b="0" i="0" u="none" strike="noStrike" baseline="0" dirty="0">
                <a:solidFill>
                  <a:srgbClr val="000000"/>
                </a:solidFill>
                <a:latin typeface="AdvOT46dcae81"/>
              </a:rPr>
              <a:t> alcohol </a:t>
            </a:r>
            <a:r>
              <a:rPr lang="en-US" sz="1400" b="0" i="0" u="none" strike="noStrike" baseline="0" dirty="0">
                <a:solidFill>
                  <a:srgbClr val="000000"/>
                </a:solidFill>
                <a:latin typeface="AdvOT46dcae81"/>
              </a:rPr>
              <a:t>and substance addiction among Syrian migrants in Turkey: A qualitative study integrating perspectives of addicts, their relatives, local and national institutions. </a:t>
            </a:r>
            <a:r>
              <a:rPr lang="en-US" sz="1400" b="0" i="0" u="none" strike="noStrike" baseline="0" dirty="0" err="1">
                <a:solidFill>
                  <a:srgbClr val="000000"/>
                </a:solidFill>
                <a:latin typeface="AdvOT65f8a23b.I"/>
              </a:rPr>
              <a:t>Addicta</a:t>
            </a:r>
            <a:r>
              <a:rPr lang="en-US" sz="1400" b="0" i="0" u="none" strike="noStrike" baseline="0" dirty="0">
                <a:solidFill>
                  <a:srgbClr val="000000"/>
                </a:solidFill>
                <a:latin typeface="AdvOT65f8a23b.I"/>
              </a:rPr>
              <a:t>: </a:t>
            </a:r>
            <a:r>
              <a:rPr lang="en-US" sz="1400" b="0" i="1" u="none" strike="noStrike" baseline="0" dirty="0">
                <a:solidFill>
                  <a:srgbClr val="000000"/>
                </a:solidFill>
                <a:latin typeface="AdvOT65f8a23b.I"/>
              </a:rPr>
              <a:t>The Turkish Journal on Addictions</a:t>
            </a:r>
            <a:r>
              <a:rPr lang="en-US" sz="1400" b="0" i="1" u="none" strike="noStrike" baseline="0" dirty="0">
                <a:solidFill>
                  <a:srgbClr val="000000"/>
                </a:solidFill>
                <a:latin typeface="AdvOT46dcae81"/>
              </a:rPr>
              <a:t>, </a:t>
            </a:r>
            <a:r>
              <a:rPr lang="en-US" sz="1400" b="0" i="1" u="none" strike="noStrike" baseline="0" dirty="0">
                <a:solidFill>
                  <a:srgbClr val="000000"/>
                </a:solidFill>
                <a:latin typeface="AdvOT65f8a23b.I"/>
              </a:rPr>
              <a:t>7</a:t>
            </a:r>
            <a:r>
              <a:rPr lang="en-US" sz="1400" b="0" i="0" u="none" strike="noStrike" baseline="0" dirty="0">
                <a:solidFill>
                  <a:srgbClr val="000000"/>
                </a:solidFill>
                <a:latin typeface="AdvOT46dcae81"/>
              </a:rPr>
              <a:t>(4), </a:t>
            </a:r>
            <a:r>
              <a:rPr lang="nl-NL" sz="1400" b="0" i="0" u="none" strike="noStrike" baseline="0" dirty="0">
                <a:solidFill>
                  <a:srgbClr val="000000"/>
                </a:solidFill>
                <a:latin typeface="AdvOT46dcae81"/>
              </a:rPr>
              <a:t>253</a:t>
            </a:r>
            <a:r>
              <a:rPr lang="nl-NL" sz="1400" b="0" i="0" u="none" strike="noStrike" baseline="0" dirty="0">
                <a:solidFill>
                  <a:srgbClr val="000000"/>
                </a:solidFill>
                <a:latin typeface="AdvOT46dcae81+20"/>
              </a:rPr>
              <a:t>–</a:t>
            </a:r>
            <a:r>
              <a:rPr lang="nl-NL" sz="1400" b="0" i="0" u="none" strike="noStrike" baseline="0" dirty="0">
                <a:solidFill>
                  <a:srgbClr val="000000"/>
                </a:solidFill>
                <a:latin typeface="AdvOT46dcae81"/>
              </a:rPr>
              <a:t>276. </a:t>
            </a:r>
            <a:r>
              <a:rPr lang="nl-NL" sz="1400" b="0" i="0" u="none" strike="noStrike" baseline="0" dirty="0">
                <a:solidFill>
                  <a:srgbClr val="000081"/>
                </a:solidFill>
                <a:latin typeface="AdvOT46dcae81"/>
                <a:hlinkClick r:id="rId3"/>
              </a:rPr>
              <a:t>https://doi.org/10.5152/ADDICTA.2020.20074</a:t>
            </a:r>
            <a:endParaRPr lang="nl-NL" sz="1400" b="0" i="0" u="none" strike="noStrike" baseline="0" dirty="0">
              <a:solidFill>
                <a:srgbClr val="000081"/>
              </a:solidFill>
              <a:latin typeface="AdvOT46dcae81"/>
            </a:endParaRPr>
          </a:p>
          <a:p>
            <a:pPr algn="l"/>
            <a:r>
              <a:rPr lang="en-GB" sz="1400" baseline="30000" dirty="0">
                <a:solidFill>
                  <a:schemeClr val="tx2"/>
                </a:solidFill>
                <a:latin typeface="Calibri" panose="020F0502020204030204" pitchFamily="34" charset="0"/>
                <a:cs typeface="Calibri" panose="020F0502020204030204" pitchFamily="34" charset="0"/>
              </a:rPr>
              <a:t>10</a:t>
            </a:r>
            <a:r>
              <a:rPr lang="en-GB" sz="1400" baseline="30000" dirty="0">
                <a:solidFill>
                  <a:srgbClr val="000081"/>
                </a:solidFill>
                <a:latin typeface="Calibri" panose="020F0502020204030204" pitchFamily="34" charset="0"/>
                <a:cs typeface="Calibri" panose="020F0502020204030204" pitchFamily="34" charset="0"/>
              </a:rPr>
              <a:t> </a:t>
            </a:r>
            <a:r>
              <a:rPr lang="nl-NL" sz="1400" b="0" i="0" u="none" strike="noStrike" baseline="0" dirty="0" err="1">
                <a:solidFill>
                  <a:srgbClr val="000000"/>
                </a:solidFill>
                <a:latin typeface="AdvOT46dcae81"/>
              </a:rPr>
              <a:t>McGovern</a:t>
            </a:r>
            <a:r>
              <a:rPr lang="nl-NL" sz="1400" b="0" i="0" u="none" strike="noStrike" baseline="0" dirty="0">
                <a:solidFill>
                  <a:srgbClr val="000000"/>
                </a:solidFill>
                <a:latin typeface="AdvOT46dcae81"/>
              </a:rPr>
              <a:t>, R., Smart, D., </a:t>
            </a:r>
            <a:r>
              <a:rPr lang="nl-NL" sz="1400" b="0" i="0" u="none" strike="noStrike" baseline="0" dirty="0" err="1">
                <a:solidFill>
                  <a:srgbClr val="000000"/>
                </a:solidFill>
                <a:latin typeface="AdvOT46dcae81"/>
              </a:rPr>
              <a:t>Alderson</a:t>
            </a:r>
            <a:r>
              <a:rPr lang="nl-NL" sz="1400" b="0" i="0" u="none" strike="noStrike" baseline="0" dirty="0">
                <a:solidFill>
                  <a:srgbClr val="000000"/>
                </a:solidFill>
                <a:latin typeface="AdvOT46dcae81"/>
              </a:rPr>
              <a:t>, H., </a:t>
            </a:r>
            <a:r>
              <a:rPr lang="nl-NL" sz="1400" b="0" i="0" u="none" strike="noStrike" baseline="0" dirty="0" err="1">
                <a:solidFill>
                  <a:srgbClr val="000000"/>
                </a:solidFill>
                <a:latin typeface="AdvOT46dcae81"/>
              </a:rPr>
              <a:t>Araujo-Soares</a:t>
            </a:r>
            <a:r>
              <a:rPr lang="nl-NL" sz="1400" b="0" i="0" u="none" strike="noStrike" baseline="0" dirty="0">
                <a:solidFill>
                  <a:srgbClr val="000000"/>
                </a:solidFill>
                <a:latin typeface="AdvOT46dcae81"/>
              </a:rPr>
              <a:t>, V., Brown, J., </a:t>
            </a:r>
            <a:r>
              <a:rPr lang="nl-NL" sz="1400" b="0" i="0" u="none" strike="noStrike" baseline="0" dirty="0" err="1">
                <a:solidFill>
                  <a:srgbClr val="000000"/>
                </a:solidFill>
                <a:latin typeface="AdvOT46dcae81"/>
              </a:rPr>
              <a:t>Buykx</a:t>
            </a:r>
            <a:r>
              <a:rPr lang="nl-NL" sz="1400" b="0" i="0" u="none" strike="noStrike" baseline="0" dirty="0">
                <a:solidFill>
                  <a:srgbClr val="000000"/>
                </a:solidFill>
                <a:latin typeface="AdvOT46dcae81"/>
              </a:rPr>
              <a:t>, </a:t>
            </a:r>
            <a:r>
              <a:rPr lang="nb-NO" sz="1400" b="0" i="0" u="none" strike="noStrike" baseline="0" dirty="0">
                <a:solidFill>
                  <a:srgbClr val="000000"/>
                </a:solidFill>
                <a:latin typeface="AdvOT46dcae81"/>
              </a:rPr>
              <a:t>R., Evans, V., Fleming, K., Hickman, M., Macleod, J., Meier, P., &amp; Kaner, </a:t>
            </a:r>
            <a:r>
              <a:rPr lang="fr-FR" sz="1400" b="0" i="0" u="none" strike="noStrike" baseline="0" dirty="0">
                <a:solidFill>
                  <a:srgbClr val="000000"/>
                </a:solidFill>
                <a:latin typeface="AdvOT46dcae81"/>
              </a:rPr>
              <a:t>E. (</a:t>
            </a:r>
            <a:r>
              <a:rPr lang="fr-FR" sz="1400" b="0" i="0" u="none" strike="noStrike" baseline="0" dirty="0">
                <a:solidFill>
                  <a:srgbClr val="000081"/>
                </a:solidFill>
                <a:latin typeface="AdvOT46dcae81"/>
              </a:rPr>
              <a:t>2021</a:t>
            </a:r>
            <a:r>
              <a:rPr lang="fr-FR" sz="1400" b="0" i="0" u="none" strike="noStrike" baseline="0" dirty="0">
                <a:solidFill>
                  <a:srgbClr val="000000"/>
                </a:solidFill>
                <a:latin typeface="AdvOT46dcae81"/>
              </a:rPr>
              <a:t>). Psychosocial interventions to </a:t>
            </a:r>
            <a:r>
              <a:rPr lang="fr-FR" sz="1400" b="0" i="0" u="none" strike="noStrike" baseline="0" dirty="0" err="1">
                <a:solidFill>
                  <a:srgbClr val="000000"/>
                </a:solidFill>
                <a:latin typeface="AdvOT46dcae81"/>
              </a:rPr>
              <a:t>improve</a:t>
            </a:r>
            <a:r>
              <a:rPr lang="fr-FR" sz="1400" b="0" i="0" u="none" strike="noStrike" baseline="0" dirty="0">
                <a:solidFill>
                  <a:srgbClr val="000000"/>
                </a:solidFill>
                <a:latin typeface="AdvOT46dcae81"/>
              </a:rPr>
              <a:t> </a:t>
            </a:r>
            <a:r>
              <a:rPr lang="fr-FR" sz="1400" b="0" i="0" u="none" strike="noStrike" baseline="0" dirty="0" err="1">
                <a:solidFill>
                  <a:srgbClr val="000000"/>
                </a:solidFill>
                <a:latin typeface="AdvOT46dcae81"/>
              </a:rPr>
              <a:t>psychological</a:t>
            </a:r>
            <a:r>
              <a:rPr lang="fr-FR" sz="1400" b="0" i="0" u="none" strike="noStrike" baseline="0" dirty="0">
                <a:solidFill>
                  <a:srgbClr val="000000"/>
                </a:solidFill>
                <a:latin typeface="AdvOT46dcae81"/>
              </a:rPr>
              <a:t>, social </a:t>
            </a:r>
            <a:r>
              <a:rPr lang="en-US" sz="1400" b="0" i="0" u="none" strike="noStrike" baseline="0" dirty="0">
                <a:solidFill>
                  <a:srgbClr val="000000"/>
                </a:solidFill>
                <a:latin typeface="AdvOT46dcae81"/>
              </a:rPr>
              <a:t>and physical wellbeing in family members affected by an adult relative</a:t>
            </a:r>
            <a:r>
              <a:rPr lang="en-US" sz="1400" b="0" i="0" u="none" strike="noStrike" baseline="0" dirty="0">
                <a:solidFill>
                  <a:srgbClr val="000000"/>
                </a:solidFill>
                <a:latin typeface="AdvOT46dcae81+20"/>
              </a:rPr>
              <a:t>’</a:t>
            </a:r>
            <a:r>
              <a:rPr lang="en-US" sz="1400" b="0" i="0" u="none" strike="noStrike" baseline="0" dirty="0">
                <a:solidFill>
                  <a:srgbClr val="000000"/>
                </a:solidFill>
                <a:latin typeface="AdvOT46dcae81"/>
              </a:rPr>
              <a:t>s substance use: A systematic search and review of the evidence. </a:t>
            </a:r>
            <a:r>
              <a:rPr lang="en-US" sz="1400" b="0" i="1" u="none" strike="noStrike" baseline="0" dirty="0">
                <a:solidFill>
                  <a:srgbClr val="000000"/>
                </a:solidFill>
                <a:latin typeface="AdvOT65f8a23b.I"/>
              </a:rPr>
              <a:t>International Journal of Environmental Research and Public Health</a:t>
            </a:r>
            <a:r>
              <a:rPr lang="en-US" sz="1400" b="0" i="1" u="none" strike="noStrike" baseline="0" dirty="0">
                <a:solidFill>
                  <a:srgbClr val="000000"/>
                </a:solidFill>
                <a:latin typeface="AdvOT46dcae81"/>
              </a:rPr>
              <a:t>, </a:t>
            </a:r>
            <a:r>
              <a:rPr lang="nl-NL" sz="1400" b="0" i="1" u="none" strike="noStrike" baseline="0" dirty="0">
                <a:solidFill>
                  <a:srgbClr val="000000"/>
                </a:solidFill>
                <a:latin typeface="AdvOT65f8a23b.I"/>
              </a:rPr>
              <a:t>18 </a:t>
            </a:r>
            <a:r>
              <a:rPr lang="nl-NL" sz="1400" b="0" u="none" strike="noStrike" baseline="0" dirty="0">
                <a:solidFill>
                  <a:srgbClr val="000000"/>
                </a:solidFill>
                <a:latin typeface="AdvOT46dcae81"/>
              </a:rPr>
              <a:t>(4)</a:t>
            </a:r>
            <a:r>
              <a:rPr lang="nl-NL" sz="1400" b="0" i="0" u="none" strike="noStrike" baseline="0" dirty="0">
                <a:solidFill>
                  <a:srgbClr val="000000"/>
                </a:solidFill>
                <a:latin typeface="AdvOT46dcae81"/>
              </a:rPr>
              <a:t>, 1793. </a:t>
            </a:r>
            <a:r>
              <a:rPr lang="nl-NL" sz="1400" b="0" i="0" u="none" strike="noStrike" baseline="0" dirty="0">
                <a:solidFill>
                  <a:srgbClr val="000081"/>
                </a:solidFill>
                <a:latin typeface="AdvOT46dcae81"/>
                <a:hlinkClick r:id="rId4"/>
              </a:rPr>
              <a:t>https://doi.org/10.3390/ijerph18041793A</a:t>
            </a:r>
            <a:endParaRPr lang="nl-NL" sz="1400" b="0" i="0" u="none" strike="noStrike" baseline="0" dirty="0">
              <a:solidFill>
                <a:srgbClr val="000081"/>
              </a:solidFill>
              <a:latin typeface="AdvOT46dcae81"/>
            </a:endParaRPr>
          </a:p>
          <a:p>
            <a:pPr algn="l"/>
            <a:r>
              <a:rPr lang="en-GB" sz="1400" baseline="30000" dirty="0">
                <a:solidFill>
                  <a:schemeClr val="tx2"/>
                </a:solidFill>
                <a:latin typeface="Calibri" panose="020F0502020204030204" pitchFamily="34" charset="0"/>
                <a:cs typeface="Calibri" panose="020F0502020204030204" pitchFamily="34" charset="0"/>
              </a:rPr>
              <a:t>11 </a:t>
            </a:r>
            <a:r>
              <a:rPr lang="en-US" sz="1400" b="0" i="0" u="none" strike="noStrike" baseline="0" dirty="0" err="1">
                <a:solidFill>
                  <a:srgbClr val="000000"/>
                </a:solidFill>
                <a:latin typeface="AdvOT46dcae81"/>
              </a:rPr>
              <a:t>Copello</a:t>
            </a:r>
            <a:r>
              <a:rPr lang="en-US" sz="1400" b="0" i="0" u="none" strike="noStrike" baseline="0" dirty="0">
                <a:solidFill>
                  <a:srgbClr val="000000"/>
                </a:solidFill>
                <a:latin typeface="AdvOT46dcae81"/>
              </a:rPr>
              <a:t>, A., Templeton, L., </a:t>
            </a:r>
            <a:r>
              <a:rPr lang="en-US" sz="1400" b="0" i="0" u="none" strike="noStrike" baseline="0" dirty="0" err="1">
                <a:solidFill>
                  <a:srgbClr val="000000"/>
                </a:solidFill>
                <a:latin typeface="AdvOT46dcae81"/>
              </a:rPr>
              <a:t>Orford</a:t>
            </a:r>
            <a:r>
              <a:rPr lang="en-US" sz="1400" b="0" i="0" u="none" strike="noStrike" baseline="0" dirty="0">
                <a:solidFill>
                  <a:srgbClr val="000000"/>
                </a:solidFill>
                <a:latin typeface="AdvOT46dcae81"/>
              </a:rPr>
              <a:t>, J., &amp; Velleman, R. (</a:t>
            </a:r>
            <a:r>
              <a:rPr lang="en-US" sz="1400" b="0" i="0" u="none" strike="noStrike" baseline="0" dirty="0">
                <a:solidFill>
                  <a:srgbClr val="000081"/>
                </a:solidFill>
                <a:latin typeface="AdvOT46dcae81"/>
              </a:rPr>
              <a:t>2010b</a:t>
            </a:r>
            <a:r>
              <a:rPr lang="en-US" sz="1400" b="0" i="0" u="none" strike="noStrike" baseline="0" dirty="0">
                <a:solidFill>
                  <a:srgbClr val="000000"/>
                </a:solidFill>
                <a:latin typeface="AdvOT46dcae81"/>
              </a:rPr>
              <a:t>). The 5-Step Method: Principles and practice. </a:t>
            </a:r>
            <a:r>
              <a:rPr lang="en-US" sz="1400" b="0" i="1" u="none" strike="noStrike" baseline="0" dirty="0">
                <a:solidFill>
                  <a:srgbClr val="000000"/>
                </a:solidFill>
                <a:latin typeface="AdvOT65f8a23b.I"/>
              </a:rPr>
              <a:t>Drugs: Education, Prevention and </a:t>
            </a:r>
            <a:r>
              <a:rPr lang="pl-PL" sz="1400" b="0" i="1" u="none" strike="noStrike" baseline="0" dirty="0">
                <a:solidFill>
                  <a:srgbClr val="000000"/>
                </a:solidFill>
                <a:latin typeface="AdvOT65f8a23b.I"/>
              </a:rPr>
              <a:t>Policy</a:t>
            </a:r>
            <a:r>
              <a:rPr lang="pl-PL" sz="1400" b="0" i="1" u="none" strike="noStrike" baseline="0" dirty="0">
                <a:solidFill>
                  <a:srgbClr val="000000"/>
                </a:solidFill>
                <a:latin typeface="AdvOT46dcae81"/>
              </a:rPr>
              <a:t>,</a:t>
            </a:r>
            <a:r>
              <a:rPr lang="nl-NL" sz="1400" b="0" i="1" u="none" strike="noStrike" baseline="0" dirty="0">
                <a:solidFill>
                  <a:srgbClr val="000000"/>
                </a:solidFill>
                <a:latin typeface="AdvOT46dcae81"/>
              </a:rPr>
              <a:t> 17</a:t>
            </a:r>
            <a:r>
              <a:rPr lang="pl-PL" sz="1400" b="0" i="0" u="none" strike="noStrike" baseline="0" dirty="0">
                <a:solidFill>
                  <a:srgbClr val="000000"/>
                </a:solidFill>
                <a:latin typeface="AdvOT46dcae81"/>
              </a:rPr>
              <a:t>(sup1), 86</a:t>
            </a:r>
            <a:r>
              <a:rPr lang="pl-PL" sz="1400" b="0" i="0" u="none" strike="noStrike" baseline="0" dirty="0">
                <a:solidFill>
                  <a:srgbClr val="000000"/>
                </a:solidFill>
                <a:latin typeface="AdvOT46dcae81+20"/>
              </a:rPr>
              <a:t>–</a:t>
            </a:r>
            <a:r>
              <a:rPr lang="pl-PL" sz="1400" b="0" i="0" u="none" strike="noStrike" baseline="0" dirty="0">
                <a:solidFill>
                  <a:srgbClr val="000000"/>
                </a:solidFill>
                <a:latin typeface="AdvOT46dcae81"/>
              </a:rPr>
              <a:t>99. </a:t>
            </a:r>
            <a:r>
              <a:rPr lang="pl-PL" sz="1400" b="0" i="0" u="none" strike="noStrike" baseline="0" dirty="0">
                <a:solidFill>
                  <a:srgbClr val="000081"/>
                </a:solidFill>
                <a:latin typeface="AdvOT46dcae81"/>
              </a:rPr>
              <a:t>https://doi.org/10.3109/09687637.2010.515186</a:t>
            </a:r>
            <a:endParaRPr lang="en-GB" sz="1400" baseline="30000" dirty="0">
              <a:solidFill>
                <a:schemeClr val="tx2"/>
              </a:solidFill>
              <a:latin typeface="Calibri" panose="020F0502020204030204" pitchFamily="34" charset="0"/>
              <a:cs typeface="Calibri" panose="020F0502020204030204" pitchFamily="34" charset="0"/>
            </a:endParaRPr>
          </a:p>
          <a:p>
            <a:pPr algn="l"/>
            <a:r>
              <a:rPr lang="en-GB" sz="1400" baseline="30000" dirty="0">
                <a:solidFill>
                  <a:schemeClr val="tx2"/>
                </a:solidFill>
                <a:latin typeface="Calibri" panose="020F0502020204030204" pitchFamily="34" charset="0"/>
                <a:cs typeface="Calibri" panose="020F0502020204030204" pitchFamily="34" charset="0"/>
              </a:rPr>
              <a:t>12 </a:t>
            </a:r>
            <a:r>
              <a:rPr lang="en-US" sz="1400" b="0" i="0" u="none" strike="noStrike" baseline="0" dirty="0" err="1">
                <a:solidFill>
                  <a:srgbClr val="000000"/>
                </a:solidFill>
                <a:latin typeface="AdvOT46dcae81"/>
              </a:rPr>
              <a:t>Orford</a:t>
            </a:r>
            <a:r>
              <a:rPr lang="en-US" sz="1400" b="0" i="0" u="none" strike="noStrike" baseline="0" dirty="0">
                <a:solidFill>
                  <a:srgbClr val="000000"/>
                </a:solidFill>
                <a:latin typeface="AdvOT46dcae81"/>
              </a:rPr>
              <a:t>, J., Cousins, J., Smith, N., &amp; Bowden-Jones, H. (</a:t>
            </a:r>
            <a:r>
              <a:rPr lang="en-US" sz="1400" b="0" i="0" u="none" strike="noStrike" baseline="0" dirty="0">
                <a:solidFill>
                  <a:srgbClr val="000081"/>
                </a:solidFill>
                <a:latin typeface="AdvOT46dcae81"/>
              </a:rPr>
              <a:t>2017</a:t>
            </a:r>
            <a:r>
              <a:rPr lang="en-US" sz="1400" b="0" i="0" u="none" strike="noStrike" baseline="0" dirty="0">
                <a:solidFill>
                  <a:srgbClr val="000000"/>
                </a:solidFill>
                <a:latin typeface="AdvOT46dcae81"/>
              </a:rPr>
              <a:t>). Stress, strain, coping and social support for affected family members attending the National Problem Gambling Clinic, London. </a:t>
            </a:r>
            <a:r>
              <a:rPr lang="en-US" sz="1400" b="0" i="1" u="none" strike="noStrike" baseline="0" dirty="0">
                <a:solidFill>
                  <a:srgbClr val="000000"/>
                </a:solidFill>
                <a:latin typeface="AdvOT65f8a23b.I"/>
              </a:rPr>
              <a:t>International Gambling </a:t>
            </a:r>
            <a:r>
              <a:rPr lang="nl-NL" sz="1400" b="0" i="1" u="none" strike="noStrike" baseline="0" dirty="0">
                <a:solidFill>
                  <a:srgbClr val="000000"/>
                </a:solidFill>
                <a:latin typeface="AdvOT65f8a23b.I"/>
              </a:rPr>
              <a:t>Studies</a:t>
            </a:r>
            <a:r>
              <a:rPr lang="nl-NL" sz="1400" b="0" i="1" u="none" strike="noStrike" baseline="0" dirty="0">
                <a:solidFill>
                  <a:srgbClr val="000000"/>
                </a:solidFill>
                <a:latin typeface="AdvOT46dcae81"/>
              </a:rPr>
              <a:t>, </a:t>
            </a:r>
            <a:r>
              <a:rPr lang="nl-NL" sz="1400" b="0" u="none" strike="noStrike" baseline="0" dirty="0">
                <a:solidFill>
                  <a:srgbClr val="000000"/>
                </a:solidFill>
                <a:latin typeface="AdvOT65f8a23b.I"/>
              </a:rPr>
              <a:t>17</a:t>
            </a:r>
            <a:r>
              <a:rPr lang="nl-NL" sz="1400" b="0" u="none" strike="noStrike" baseline="0" dirty="0">
                <a:solidFill>
                  <a:srgbClr val="000000"/>
                </a:solidFill>
                <a:latin typeface="AdvOT46dcae81"/>
              </a:rPr>
              <a:t>(2), </a:t>
            </a:r>
            <a:r>
              <a:rPr lang="nl-NL" sz="1400" b="0" i="0" u="none" strike="noStrike" baseline="0" dirty="0">
                <a:solidFill>
                  <a:srgbClr val="000000"/>
                </a:solidFill>
                <a:latin typeface="AdvOT46dcae81"/>
              </a:rPr>
              <a:t>259</a:t>
            </a:r>
            <a:r>
              <a:rPr lang="nl-NL" sz="1400" b="0" i="0" u="none" strike="noStrike" baseline="0" dirty="0">
                <a:solidFill>
                  <a:srgbClr val="000000"/>
                </a:solidFill>
                <a:latin typeface="AdvOT46dcae81+20"/>
              </a:rPr>
              <a:t>–</a:t>
            </a:r>
            <a:r>
              <a:rPr lang="nl-NL" sz="1400" b="0" i="0" u="none" strike="noStrike" baseline="0" dirty="0">
                <a:solidFill>
                  <a:srgbClr val="000000"/>
                </a:solidFill>
                <a:latin typeface="AdvOT46dcae81"/>
              </a:rPr>
              <a:t>275. </a:t>
            </a:r>
            <a:r>
              <a:rPr lang="nl-NL" sz="1400" b="0" i="0" u="none" strike="noStrike" baseline="0" dirty="0">
                <a:solidFill>
                  <a:srgbClr val="000081"/>
                </a:solidFill>
                <a:latin typeface="AdvOT46dcae81"/>
                <a:hlinkClick r:id="rId5"/>
              </a:rPr>
              <a:t>https://doi.org/10.1080/14459795.2017.1331251</a:t>
            </a:r>
            <a:endParaRPr lang="nl-NL" sz="1400" b="0" i="0" u="none" strike="noStrike" baseline="0" dirty="0">
              <a:solidFill>
                <a:srgbClr val="000081"/>
              </a:solidFill>
              <a:latin typeface="AdvOT46dcae81"/>
            </a:endParaRPr>
          </a:p>
          <a:p>
            <a:pPr algn="l"/>
            <a:endParaRPr lang="en-GB" sz="1400" baseline="30000" dirty="0">
              <a:solidFill>
                <a:srgbClr val="000081"/>
              </a:solidFill>
              <a:latin typeface="Calibri" panose="020F0502020204030204" pitchFamily="34" charset="0"/>
              <a:cs typeface="Calibri" panose="020F0502020204030204" pitchFamily="34" charset="0"/>
            </a:endParaRPr>
          </a:p>
          <a:p>
            <a:pPr algn="l"/>
            <a:endParaRPr lang="nl-NL" sz="1600" b="0" i="0" u="none" strike="noStrike" baseline="0" dirty="0">
              <a:solidFill>
                <a:srgbClr val="000081"/>
              </a:solidFill>
              <a:latin typeface="AdvOT46dcae81"/>
            </a:endParaRPr>
          </a:p>
          <a:p>
            <a:pPr algn="l"/>
            <a:endParaRPr lang="en-GB" sz="1600" dirty="0">
              <a:latin typeface="MinionPro-Regular"/>
            </a:endParaRPr>
          </a:p>
          <a:p>
            <a:pPr algn="l"/>
            <a:endParaRPr lang="nl-NL" dirty="0" err="1"/>
          </a:p>
        </p:txBody>
      </p:sp>
    </p:spTree>
    <p:extLst>
      <p:ext uri="{BB962C8B-B14F-4D97-AF65-F5344CB8AC3E}">
        <p14:creationId xmlns:p14="http://schemas.microsoft.com/office/powerpoint/2010/main" val="5425787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1EAF53B5-9C36-4696-A500-97EEFEAD0465}"/>
              </a:ext>
            </a:extLst>
          </p:cNvPr>
          <p:cNvSpPr>
            <a:spLocks noGrp="1"/>
          </p:cNvSpPr>
          <p:nvPr>
            <p:ph idx="1"/>
          </p:nvPr>
        </p:nvSpPr>
        <p:spPr>
          <a:xfrm>
            <a:off x="911752" y="1799999"/>
            <a:ext cx="10377649" cy="4086451"/>
          </a:xfrm>
        </p:spPr>
        <p:txBody>
          <a:bodyPr/>
          <a:lstStyle/>
          <a:p>
            <a:pPr marL="550863" lvl="1" indent="-285750"/>
            <a:endParaRPr lang="en-US" sz="2000" dirty="0">
              <a:latin typeface="MinionPro-Regular"/>
            </a:endParaRPr>
          </a:p>
          <a:p>
            <a:pPr marL="550863" lvl="1" indent="-285750"/>
            <a:endParaRPr lang="nl-NL" sz="1800" dirty="0">
              <a:latin typeface="MinionPro-Regular"/>
            </a:endParaRPr>
          </a:p>
        </p:txBody>
      </p:sp>
      <p:sp>
        <p:nvSpPr>
          <p:cNvPr id="3" name="Titel 2">
            <a:extLst>
              <a:ext uri="{FF2B5EF4-FFF2-40B4-BE49-F238E27FC236}">
                <a16:creationId xmlns:a16="http://schemas.microsoft.com/office/drawing/2014/main" id="{C70D0130-8381-4DCE-8750-5A6F4A400CFF}"/>
              </a:ext>
            </a:extLst>
          </p:cNvPr>
          <p:cNvSpPr>
            <a:spLocks noGrp="1"/>
          </p:cNvSpPr>
          <p:nvPr>
            <p:ph type="title"/>
          </p:nvPr>
        </p:nvSpPr>
        <p:spPr/>
        <p:txBody>
          <a:bodyPr/>
          <a:lstStyle/>
          <a:p>
            <a:r>
              <a:rPr lang="nl-NL" dirty="0"/>
              <a:t>Background</a:t>
            </a:r>
          </a:p>
        </p:txBody>
      </p:sp>
      <p:sp>
        <p:nvSpPr>
          <p:cNvPr id="4" name="Tijdelijke aanduiding voor dianummer 3">
            <a:extLst>
              <a:ext uri="{FF2B5EF4-FFF2-40B4-BE49-F238E27FC236}">
                <a16:creationId xmlns:a16="http://schemas.microsoft.com/office/drawing/2014/main" id="{731CD20F-2F05-481B-810F-F8D744D85D86}"/>
              </a:ext>
            </a:extLst>
          </p:cNvPr>
          <p:cNvSpPr>
            <a:spLocks noGrp="1"/>
          </p:cNvSpPr>
          <p:nvPr>
            <p:ph type="sldNum" sz="quarter" idx="4"/>
          </p:nvPr>
        </p:nvSpPr>
        <p:spPr/>
        <p:txBody>
          <a:bodyPr/>
          <a:lstStyle/>
          <a:p>
            <a:fld id="{01ED78C3-3A94-496B-9AE8-73034C580365}" type="slidenum">
              <a:rPr lang="en-US" smtClean="0"/>
              <a:pPr/>
              <a:t>2</a:t>
            </a:fld>
            <a:endParaRPr lang="en-US"/>
          </a:p>
        </p:txBody>
      </p:sp>
      <p:sp>
        <p:nvSpPr>
          <p:cNvPr id="5" name="Tekstvak 4">
            <a:extLst>
              <a:ext uri="{FF2B5EF4-FFF2-40B4-BE49-F238E27FC236}">
                <a16:creationId xmlns:a16="http://schemas.microsoft.com/office/drawing/2014/main" id="{C8B6928D-BD29-6792-30B1-CA02C397DFA3}"/>
              </a:ext>
            </a:extLst>
          </p:cNvPr>
          <p:cNvSpPr txBox="1"/>
          <p:nvPr/>
        </p:nvSpPr>
        <p:spPr>
          <a:xfrm>
            <a:off x="560360" y="1615044"/>
            <a:ext cx="9593043" cy="4862870"/>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GB" sz="2400" dirty="0">
                <a:latin typeface="MinionPro-Regular"/>
              </a:rPr>
              <a:t>Affected family members (AFMs) can experience stress and strain </a:t>
            </a:r>
          </a:p>
          <a:p>
            <a:pPr marL="742950" lvl="1" indent="-285750">
              <a:buFont typeface="Arial" panose="020B0604020202020204" pitchFamily="34" charset="0"/>
              <a:buChar char="•"/>
            </a:pPr>
            <a:r>
              <a:rPr lang="en-GB" sz="2000" dirty="0">
                <a:latin typeface="MinionPro-Regular"/>
              </a:rPr>
              <a:t> More than 300 millions AFMs worldwide</a:t>
            </a:r>
            <a:r>
              <a:rPr lang="en-GB" sz="2000" baseline="30000" dirty="0">
                <a:effectLst/>
                <a:latin typeface="Calibri" panose="020F0502020204030204" pitchFamily="34" charset="0"/>
                <a:ea typeface="Calibri" panose="020F0502020204030204" pitchFamily="34" charset="0"/>
                <a:cs typeface="Calibri" panose="020F0502020204030204" pitchFamily="34" charset="0"/>
              </a:rPr>
              <a:t>1, 2</a:t>
            </a:r>
            <a:endParaRPr lang="en-GB" sz="2000" dirty="0">
              <a:latin typeface="MinionPro-Regular"/>
            </a:endParaRPr>
          </a:p>
          <a:p>
            <a:pPr marL="800100" lvl="1" indent="-342900">
              <a:buFont typeface="Arial" panose="020B0604020202020204" pitchFamily="34" charset="0"/>
              <a:buChar char="•"/>
            </a:pPr>
            <a:r>
              <a:rPr lang="en-GB" sz="2000" dirty="0">
                <a:latin typeface="MinionPro-Regular"/>
              </a:rPr>
              <a:t>Documented across different cultures</a:t>
            </a:r>
            <a:r>
              <a:rPr lang="en-GB" sz="2000" baseline="30000" dirty="0">
                <a:effectLst/>
                <a:latin typeface="Calibri" panose="020F0502020204030204" pitchFamily="34" charset="0"/>
                <a:ea typeface="Calibri" panose="020F0502020204030204" pitchFamily="34" charset="0"/>
                <a:cs typeface="Calibri" panose="020F0502020204030204" pitchFamily="34" charset="0"/>
              </a:rPr>
              <a:t>3, 4, 5, 6, 7, 8, 9</a:t>
            </a:r>
            <a:endParaRPr lang="en-GB" sz="2000" dirty="0">
              <a:latin typeface="MinionPro-Regular"/>
            </a:endParaRPr>
          </a:p>
          <a:p>
            <a:pPr marL="800100" lvl="1" indent="-342900">
              <a:buFont typeface="Arial" panose="020B0604020202020204" pitchFamily="34" charset="0"/>
              <a:buChar char="•"/>
            </a:pPr>
            <a:endParaRPr lang="en-GB" sz="2000" dirty="0">
              <a:latin typeface="MinionPro-Regular"/>
            </a:endParaRPr>
          </a:p>
          <a:p>
            <a:pPr lvl="1"/>
            <a:endParaRPr lang="en-GB" sz="2000" dirty="0">
              <a:latin typeface="MinionPro-Regular"/>
            </a:endParaRPr>
          </a:p>
          <a:p>
            <a:pPr marL="342900" indent="-342900">
              <a:buFont typeface="Arial" panose="020B0604020202020204" pitchFamily="34" charset="0"/>
              <a:buChar char="•"/>
            </a:pPr>
            <a:r>
              <a:rPr lang="en-GB" sz="2400" dirty="0">
                <a:latin typeface="MinionPro-Regular"/>
              </a:rPr>
              <a:t>Limited number of evidence-based interventions specifically designed for AFMs</a:t>
            </a:r>
            <a:r>
              <a:rPr lang="en-GB" sz="2400" baseline="30000" dirty="0">
                <a:latin typeface="Calibri" panose="020F0502020204030204" pitchFamily="34" charset="0"/>
                <a:cs typeface="Calibri" panose="020F0502020204030204" pitchFamily="34" charset="0"/>
              </a:rPr>
              <a:t>10</a:t>
            </a:r>
            <a:endParaRPr lang="en-GB" sz="2400" dirty="0">
              <a:latin typeface="MinionPro-Regular"/>
            </a:endParaRPr>
          </a:p>
          <a:p>
            <a:endParaRPr lang="en-GB" sz="2400" dirty="0">
              <a:latin typeface="MinionPro-Regular"/>
            </a:endParaRPr>
          </a:p>
          <a:p>
            <a:pPr marL="342900" indent="-342900">
              <a:buFont typeface="Arial" panose="020B0604020202020204" pitchFamily="34" charset="0"/>
              <a:buChar char="•"/>
            </a:pPr>
            <a:endParaRPr lang="en-GB" sz="2400" dirty="0">
              <a:latin typeface="MinionPro-Regular"/>
            </a:endParaRPr>
          </a:p>
          <a:p>
            <a:pPr marL="342900" indent="-342900">
              <a:buFont typeface="Arial" panose="020B0604020202020204" pitchFamily="34" charset="0"/>
              <a:buChar char="•"/>
            </a:pPr>
            <a:r>
              <a:rPr lang="en-GB" sz="2400" dirty="0">
                <a:latin typeface="MinionPro-Regular"/>
              </a:rPr>
              <a:t>The 5-Step Method</a:t>
            </a:r>
            <a:r>
              <a:rPr lang="en-GB" sz="2400" baseline="30000" dirty="0">
                <a:latin typeface="Calibri" panose="020F0502020204030204" pitchFamily="34" charset="0"/>
                <a:cs typeface="Calibri" panose="020F0502020204030204" pitchFamily="34" charset="0"/>
              </a:rPr>
              <a:t>11 </a:t>
            </a:r>
            <a:endParaRPr lang="en-GB" sz="2400" dirty="0">
              <a:latin typeface="MinionPro-Regular"/>
            </a:endParaRPr>
          </a:p>
          <a:p>
            <a:endParaRPr lang="en-GB" sz="2000" dirty="0">
              <a:latin typeface="MinionPro-Regular"/>
            </a:endParaRPr>
          </a:p>
          <a:p>
            <a:pPr marL="285750" indent="-285750" algn="l">
              <a:buFontTx/>
              <a:buChar char="-"/>
            </a:pPr>
            <a:endParaRPr lang="nl-NL" dirty="0"/>
          </a:p>
          <a:p>
            <a:pPr marL="285750" indent="-285750" algn="l">
              <a:buFontTx/>
              <a:buChar char="-"/>
            </a:pPr>
            <a:endParaRPr lang="nl-NL" dirty="0"/>
          </a:p>
          <a:p>
            <a:pPr marL="285750" indent="-285750" algn="l">
              <a:buFontTx/>
              <a:buChar char="-"/>
            </a:pPr>
            <a:endParaRPr lang="nl-NL" dirty="0"/>
          </a:p>
          <a:p>
            <a:pPr marL="285750" indent="-285750" algn="l">
              <a:buFontTx/>
              <a:buChar char="-"/>
            </a:pPr>
            <a:endParaRPr lang="nl-NL" dirty="0" err="1"/>
          </a:p>
        </p:txBody>
      </p:sp>
    </p:spTree>
    <p:extLst>
      <p:ext uri="{BB962C8B-B14F-4D97-AF65-F5344CB8AC3E}">
        <p14:creationId xmlns:p14="http://schemas.microsoft.com/office/powerpoint/2010/main" val="19200133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66A58AC6-44DE-C2EE-E778-9FF8508D2C46}"/>
              </a:ext>
            </a:extLst>
          </p:cNvPr>
          <p:cNvSpPr>
            <a:spLocks noGrp="1"/>
          </p:cNvSpPr>
          <p:nvPr>
            <p:ph idx="1"/>
          </p:nvPr>
        </p:nvSpPr>
        <p:spPr/>
        <p:txBody>
          <a:bodyPr/>
          <a:lstStyle/>
          <a:p>
            <a:r>
              <a:rPr lang="en-US" sz="2000" dirty="0"/>
              <a:t>Step 1: Let the family member tell their story </a:t>
            </a:r>
          </a:p>
          <a:p>
            <a:endParaRPr lang="en-US" sz="2000" dirty="0"/>
          </a:p>
          <a:p>
            <a:r>
              <a:rPr lang="en-US" sz="2000" dirty="0"/>
              <a:t>Step 2: Provide relevant information</a:t>
            </a:r>
          </a:p>
          <a:p>
            <a:endParaRPr lang="en-US" sz="2000" dirty="0"/>
          </a:p>
          <a:p>
            <a:r>
              <a:rPr lang="en-US" sz="2000" dirty="0"/>
              <a:t>Step 3: Discuss ways of coping and responding</a:t>
            </a:r>
          </a:p>
          <a:p>
            <a:endParaRPr lang="en-US" sz="2000" dirty="0"/>
          </a:p>
          <a:p>
            <a:r>
              <a:rPr lang="en-US" sz="2000" dirty="0"/>
              <a:t>Step 4: Explore sources of support</a:t>
            </a:r>
          </a:p>
          <a:p>
            <a:endParaRPr lang="en-US" sz="2000" dirty="0"/>
          </a:p>
          <a:p>
            <a:r>
              <a:rPr lang="en-US" sz="2000" dirty="0"/>
              <a:t>Step 5: Arrange further help if needed</a:t>
            </a:r>
          </a:p>
          <a:p>
            <a:endParaRPr lang="nl-NL" dirty="0"/>
          </a:p>
        </p:txBody>
      </p:sp>
      <p:sp>
        <p:nvSpPr>
          <p:cNvPr id="3" name="Titel 2">
            <a:extLst>
              <a:ext uri="{FF2B5EF4-FFF2-40B4-BE49-F238E27FC236}">
                <a16:creationId xmlns:a16="http://schemas.microsoft.com/office/drawing/2014/main" id="{11D7942B-71E4-A4A6-1A40-818D99456976}"/>
              </a:ext>
            </a:extLst>
          </p:cNvPr>
          <p:cNvSpPr>
            <a:spLocks noGrp="1"/>
          </p:cNvSpPr>
          <p:nvPr>
            <p:ph type="title"/>
          </p:nvPr>
        </p:nvSpPr>
        <p:spPr/>
        <p:txBody>
          <a:bodyPr/>
          <a:lstStyle/>
          <a:p>
            <a:r>
              <a:rPr lang="nl-NL" dirty="0"/>
              <a:t>5-Step Method</a:t>
            </a:r>
          </a:p>
        </p:txBody>
      </p:sp>
      <p:sp>
        <p:nvSpPr>
          <p:cNvPr id="4" name="Tijdelijke aanduiding voor dianummer 3">
            <a:extLst>
              <a:ext uri="{FF2B5EF4-FFF2-40B4-BE49-F238E27FC236}">
                <a16:creationId xmlns:a16="http://schemas.microsoft.com/office/drawing/2014/main" id="{A194E402-DF97-43E9-FB30-46721CB3649F}"/>
              </a:ext>
            </a:extLst>
          </p:cNvPr>
          <p:cNvSpPr>
            <a:spLocks noGrp="1"/>
          </p:cNvSpPr>
          <p:nvPr>
            <p:ph type="sldNum" sz="quarter" idx="4"/>
          </p:nvPr>
        </p:nvSpPr>
        <p:spPr/>
        <p:txBody>
          <a:bodyPr/>
          <a:lstStyle/>
          <a:p>
            <a:fld id="{01ED78C3-3A94-496B-9AE8-73034C580365}" type="slidenum">
              <a:rPr lang="en-US" smtClean="0"/>
              <a:pPr/>
              <a:t>3</a:t>
            </a:fld>
            <a:endParaRPr lang="en-US" dirty="0"/>
          </a:p>
        </p:txBody>
      </p:sp>
      <p:pic>
        <p:nvPicPr>
          <p:cNvPr id="7" name="Graphic 6" descr="Brainstormgroep met effen opvulling">
            <a:extLst>
              <a:ext uri="{FF2B5EF4-FFF2-40B4-BE49-F238E27FC236}">
                <a16:creationId xmlns:a16="http://schemas.microsoft.com/office/drawing/2014/main" id="{D7A4EC3E-99A2-1738-F043-824EE12AE9A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6282" y="1162871"/>
            <a:ext cx="3463636" cy="3463636"/>
          </a:xfrm>
          <a:prstGeom prst="rect">
            <a:avLst/>
          </a:prstGeom>
        </p:spPr>
      </p:pic>
    </p:spTree>
    <p:extLst>
      <p:ext uri="{BB962C8B-B14F-4D97-AF65-F5344CB8AC3E}">
        <p14:creationId xmlns:p14="http://schemas.microsoft.com/office/powerpoint/2010/main" val="1056505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1EAF53B5-9C36-4696-A500-97EEFEAD0465}"/>
              </a:ext>
            </a:extLst>
          </p:cNvPr>
          <p:cNvSpPr>
            <a:spLocks noGrp="1"/>
          </p:cNvSpPr>
          <p:nvPr>
            <p:ph idx="1"/>
          </p:nvPr>
        </p:nvSpPr>
        <p:spPr>
          <a:xfrm>
            <a:off x="911752" y="1799999"/>
            <a:ext cx="10377649" cy="4086451"/>
          </a:xfrm>
        </p:spPr>
        <p:txBody>
          <a:bodyPr/>
          <a:lstStyle/>
          <a:p>
            <a:pPr marL="550863" lvl="1" indent="-285750"/>
            <a:endParaRPr lang="en-US" sz="2000" dirty="0">
              <a:latin typeface="MinionPro-Regular"/>
            </a:endParaRPr>
          </a:p>
          <a:p>
            <a:pPr marL="550863" lvl="1" indent="-285750"/>
            <a:endParaRPr lang="nl-NL" sz="1800" dirty="0">
              <a:latin typeface="MinionPro-Regular"/>
            </a:endParaRPr>
          </a:p>
        </p:txBody>
      </p:sp>
      <p:sp>
        <p:nvSpPr>
          <p:cNvPr id="3" name="Titel 2">
            <a:extLst>
              <a:ext uri="{FF2B5EF4-FFF2-40B4-BE49-F238E27FC236}">
                <a16:creationId xmlns:a16="http://schemas.microsoft.com/office/drawing/2014/main" id="{C70D0130-8381-4DCE-8750-5A6F4A400CFF}"/>
              </a:ext>
            </a:extLst>
          </p:cNvPr>
          <p:cNvSpPr>
            <a:spLocks noGrp="1"/>
          </p:cNvSpPr>
          <p:nvPr>
            <p:ph type="title"/>
          </p:nvPr>
        </p:nvSpPr>
        <p:spPr>
          <a:xfrm>
            <a:off x="902599" y="360000"/>
            <a:ext cx="10386802" cy="443198"/>
          </a:xfrm>
        </p:spPr>
        <p:txBody>
          <a:bodyPr/>
          <a:lstStyle/>
          <a:p>
            <a:r>
              <a:rPr lang="nl-NL" dirty="0" err="1"/>
              <a:t>Objectives</a:t>
            </a:r>
            <a:endParaRPr lang="nl-NL" dirty="0"/>
          </a:p>
        </p:txBody>
      </p:sp>
      <p:sp>
        <p:nvSpPr>
          <p:cNvPr id="4" name="Tijdelijke aanduiding voor dianummer 3">
            <a:extLst>
              <a:ext uri="{FF2B5EF4-FFF2-40B4-BE49-F238E27FC236}">
                <a16:creationId xmlns:a16="http://schemas.microsoft.com/office/drawing/2014/main" id="{731CD20F-2F05-481B-810F-F8D744D85D86}"/>
              </a:ext>
            </a:extLst>
          </p:cNvPr>
          <p:cNvSpPr>
            <a:spLocks noGrp="1"/>
          </p:cNvSpPr>
          <p:nvPr>
            <p:ph type="sldNum" sz="quarter" idx="4"/>
          </p:nvPr>
        </p:nvSpPr>
        <p:spPr/>
        <p:txBody>
          <a:bodyPr/>
          <a:lstStyle/>
          <a:p>
            <a:fld id="{01ED78C3-3A94-496B-9AE8-73034C580365}" type="slidenum">
              <a:rPr lang="en-US" smtClean="0"/>
              <a:pPr/>
              <a:t>4</a:t>
            </a:fld>
            <a:endParaRPr lang="en-US"/>
          </a:p>
        </p:txBody>
      </p:sp>
      <p:sp>
        <p:nvSpPr>
          <p:cNvPr id="5" name="Tekstvak 4">
            <a:extLst>
              <a:ext uri="{FF2B5EF4-FFF2-40B4-BE49-F238E27FC236}">
                <a16:creationId xmlns:a16="http://schemas.microsoft.com/office/drawing/2014/main" id="{C8B6928D-BD29-6792-30B1-CA02C397DFA3}"/>
              </a:ext>
            </a:extLst>
          </p:cNvPr>
          <p:cNvSpPr txBox="1"/>
          <p:nvPr/>
        </p:nvSpPr>
        <p:spPr>
          <a:xfrm>
            <a:off x="573423" y="1628107"/>
            <a:ext cx="9593043" cy="5786199"/>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400" dirty="0">
                <a:latin typeface="MinionPro-Regular"/>
              </a:rPr>
              <a:t>Evaluate the routinely delivered 5-Step Method</a:t>
            </a:r>
          </a:p>
          <a:p>
            <a:pPr marL="800100" lvl="1" indent="-342900">
              <a:buFont typeface="Arial" panose="020B0604020202020204" pitchFamily="34" charset="0"/>
              <a:buChar char="•"/>
            </a:pPr>
            <a:r>
              <a:rPr lang="en-US" sz="2000" dirty="0">
                <a:latin typeface="MinionPro-Regular"/>
              </a:rPr>
              <a:t>Family Member Questionnaire</a:t>
            </a:r>
            <a:r>
              <a:rPr lang="en-GB" sz="2000" baseline="30000" dirty="0">
                <a:solidFill>
                  <a:schemeClr val="tx2"/>
                </a:solidFill>
                <a:latin typeface="Calibri" panose="020F0502020204030204" pitchFamily="34" charset="0"/>
                <a:cs typeface="Calibri" panose="020F0502020204030204" pitchFamily="34" charset="0"/>
              </a:rPr>
              <a:t> 12</a:t>
            </a:r>
            <a:r>
              <a:rPr lang="en-GB" sz="2000" dirty="0">
                <a:solidFill>
                  <a:schemeClr val="tx2"/>
                </a:solidFill>
                <a:latin typeface="Calibri" panose="020F0502020204030204" pitchFamily="34" charset="0"/>
                <a:cs typeface="Calibri" panose="020F0502020204030204" pitchFamily="34" charset="0"/>
              </a:rPr>
              <a:t> </a:t>
            </a:r>
            <a:endParaRPr lang="en-GB" sz="2000" baseline="30000" dirty="0">
              <a:solidFill>
                <a:schemeClr val="tx2"/>
              </a:solidFill>
              <a:latin typeface="Calibri" panose="020F0502020204030204" pitchFamily="34" charset="0"/>
              <a:cs typeface="Calibri" panose="020F0502020204030204" pitchFamily="34" charset="0"/>
            </a:endParaRPr>
          </a:p>
          <a:p>
            <a:pPr marL="800100" lvl="1" indent="-342900">
              <a:buFont typeface="Arial" panose="020B0604020202020204" pitchFamily="34" charset="0"/>
              <a:buChar char="•"/>
            </a:pPr>
            <a:r>
              <a:rPr lang="en-US" sz="2000" dirty="0">
                <a:latin typeface="MinionPro-Regular"/>
              </a:rPr>
              <a:t>Measures impact, symptoms, coping styles and social</a:t>
            </a:r>
          </a:p>
          <a:p>
            <a:pPr lvl="1"/>
            <a:r>
              <a:rPr lang="en-US" sz="2000" dirty="0">
                <a:latin typeface="MinionPro-Regular"/>
              </a:rPr>
              <a:t>      support, and </a:t>
            </a:r>
            <a:r>
              <a:rPr lang="en-US" sz="2000" b="1" dirty="0">
                <a:latin typeface="MinionPro-Regular"/>
              </a:rPr>
              <a:t>Total Family Burden</a:t>
            </a:r>
          </a:p>
          <a:p>
            <a:pPr lvl="1"/>
            <a:endParaRPr lang="en-US" sz="2000" b="1" dirty="0">
              <a:latin typeface="MinionPro-Regular"/>
            </a:endParaRPr>
          </a:p>
          <a:p>
            <a:pPr marL="342900" indent="-342900">
              <a:buFont typeface="Arial" panose="020B0604020202020204" pitchFamily="34" charset="0"/>
              <a:buChar char="•"/>
            </a:pPr>
            <a:r>
              <a:rPr lang="en-US" sz="2400" dirty="0">
                <a:latin typeface="MinionPro-Regular"/>
              </a:rPr>
              <a:t>The FMQ distinguishes four coping styles </a:t>
            </a:r>
          </a:p>
          <a:p>
            <a:pPr marL="800100" lvl="1" indent="-342900">
              <a:buFont typeface="Arial" panose="020B0604020202020204" pitchFamily="34" charset="0"/>
              <a:buChar char="•"/>
            </a:pPr>
            <a:r>
              <a:rPr lang="en-US" sz="2000" dirty="0">
                <a:latin typeface="MinionPro-Regular"/>
              </a:rPr>
              <a:t>Engaged Emotional Coping   </a:t>
            </a:r>
          </a:p>
          <a:p>
            <a:pPr marL="800100" lvl="1" indent="-342900">
              <a:buFont typeface="Arial" panose="020B0604020202020204" pitchFamily="34" charset="0"/>
              <a:buChar char="•"/>
            </a:pPr>
            <a:r>
              <a:rPr lang="en-US" sz="2000" dirty="0">
                <a:latin typeface="MinionPro-Regular"/>
              </a:rPr>
              <a:t>Engaged Assertive Coping   </a:t>
            </a:r>
          </a:p>
          <a:p>
            <a:pPr marL="800100" lvl="1" indent="-342900">
              <a:buFont typeface="Arial" panose="020B0604020202020204" pitchFamily="34" charset="0"/>
              <a:buChar char="•"/>
            </a:pPr>
            <a:r>
              <a:rPr lang="en-US" sz="2000" dirty="0">
                <a:latin typeface="MinionPro-Regular"/>
              </a:rPr>
              <a:t>Tolerant Inactive Coping  </a:t>
            </a:r>
          </a:p>
          <a:p>
            <a:pPr marL="800100" lvl="1" indent="-342900">
              <a:buFont typeface="Arial" panose="020B0604020202020204" pitchFamily="34" charset="0"/>
              <a:buChar char="•"/>
            </a:pPr>
            <a:r>
              <a:rPr lang="en-US" sz="2000" dirty="0">
                <a:latin typeface="MinionPro-Regular"/>
              </a:rPr>
              <a:t>Withdrawal Coping</a:t>
            </a:r>
            <a:endParaRPr lang="en-US" dirty="0">
              <a:latin typeface="MinionPro-Regular"/>
            </a:endParaRPr>
          </a:p>
          <a:p>
            <a:pPr algn="l"/>
            <a:endParaRPr lang="en-US" sz="2400" dirty="0">
              <a:latin typeface="MinionPro-Regular"/>
            </a:endParaRPr>
          </a:p>
          <a:p>
            <a:pPr marL="342900" indent="-342900" algn="l">
              <a:buFont typeface="Arial" panose="020B0604020202020204" pitchFamily="34" charset="0"/>
              <a:buChar char="•"/>
            </a:pPr>
            <a:endParaRPr lang="en-US" sz="2400" dirty="0">
              <a:latin typeface="MinionPro-Regular"/>
            </a:endParaRPr>
          </a:p>
          <a:p>
            <a:pPr marL="342900" indent="-342900" algn="l">
              <a:buFont typeface="Arial" panose="020B0604020202020204" pitchFamily="34" charset="0"/>
              <a:buChar char="•"/>
            </a:pPr>
            <a:endParaRPr lang="en-US" sz="2400" dirty="0">
              <a:latin typeface="MinionPro-Regular"/>
            </a:endParaRPr>
          </a:p>
          <a:p>
            <a:pPr algn="l"/>
            <a:endParaRPr lang="en-US" sz="2400" dirty="0">
              <a:latin typeface="MinionPro-Regular"/>
            </a:endParaRPr>
          </a:p>
          <a:p>
            <a:pPr algn="l"/>
            <a:endParaRPr lang="en-US" sz="2400" dirty="0">
              <a:latin typeface="MinionPro-Regular"/>
            </a:endParaRPr>
          </a:p>
          <a:p>
            <a:pPr algn="l"/>
            <a:endParaRPr lang="en-US" sz="2400" dirty="0">
              <a:latin typeface="MinionPro-Regular"/>
            </a:endParaRPr>
          </a:p>
          <a:p>
            <a:pPr algn="l"/>
            <a:endParaRPr lang="nl-NL" sz="2400" dirty="0">
              <a:latin typeface="MinionPro-Regular"/>
            </a:endParaRPr>
          </a:p>
        </p:txBody>
      </p:sp>
      <p:pic>
        <p:nvPicPr>
          <p:cNvPr id="8" name="Afbeelding 7">
            <a:extLst>
              <a:ext uri="{FF2B5EF4-FFF2-40B4-BE49-F238E27FC236}">
                <a16:creationId xmlns:a16="http://schemas.microsoft.com/office/drawing/2014/main" id="{4DAE1592-3454-1F11-8D03-33D499EFF68E}"/>
              </a:ext>
            </a:extLst>
          </p:cNvPr>
          <p:cNvPicPr>
            <a:picLocks noChangeAspect="1"/>
          </p:cNvPicPr>
          <p:nvPr/>
        </p:nvPicPr>
        <p:blipFill>
          <a:blip r:embed="rId3"/>
          <a:stretch>
            <a:fillRect/>
          </a:stretch>
        </p:blipFill>
        <p:spPr>
          <a:xfrm>
            <a:off x="7052403" y="360000"/>
            <a:ext cx="4903155" cy="4914900"/>
          </a:xfrm>
          <a:prstGeom prst="rect">
            <a:avLst/>
          </a:prstGeom>
        </p:spPr>
      </p:pic>
    </p:spTree>
    <p:extLst>
      <p:ext uri="{BB962C8B-B14F-4D97-AF65-F5344CB8AC3E}">
        <p14:creationId xmlns:p14="http://schemas.microsoft.com/office/powerpoint/2010/main" val="1223600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jdelijke aanduiding voor inhoud 1">
            <a:extLst>
              <a:ext uri="{FF2B5EF4-FFF2-40B4-BE49-F238E27FC236}">
                <a16:creationId xmlns:a16="http://schemas.microsoft.com/office/drawing/2014/main" id="{F1DC7D4E-27D6-1433-DF24-598F41F945CE}"/>
              </a:ext>
            </a:extLst>
          </p:cNvPr>
          <p:cNvSpPr txBox="1">
            <a:spLocks/>
          </p:cNvSpPr>
          <p:nvPr/>
        </p:nvSpPr>
        <p:spPr>
          <a:xfrm>
            <a:off x="6317673" y="2307742"/>
            <a:ext cx="5072287" cy="3177741"/>
          </a:xfrm>
          <a:prstGeom prst="roundRect">
            <a:avLst/>
          </a:prstGeom>
        </p:spPr>
        <p:style>
          <a:lnRef idx="2">
            <a:schemeClr val="accent1"/>
          </a:lnRef>
          <a:fillRef idx="1">
            <a:schemeClr val="lt1"/>
          </a:fillRef>
          <a:effectRef idx="0">
            <a:schemeClr val="accent1"/>
          </a:effectRef>
          <a:fontRef idx="minor">
            <a:schemeClr val="dk1"/>
          </a:fontRef>
        </p:style>
        <p:txBody>
          <a:bodyPr vert="horz" wrap="square" lIns="0" tIns="0" rIns="0" bIns="0" rtlCol="0">
            <a:noAutofit/>
          </a:bodyPr>
          <a:lstStyle>
            <a:lvl1pPr marL="0" indent="0" algn="l" defTabSz="914400" rtl="0" eaLnBrk="1" latinLnBrk="0" hangingPunct="1">
              <a:lnSpc>
                <a:spcPct val="100000"/>
              </a:lnSpc>
              <a:spcBef>
                <a:spcPts val="0"/>
              </a:spcBef>
              <a:spcAft>
                <a:spcPts val="300"/>
              </a:spcAft>
              <a:buFontTx/>
              <a:buNone/>
              <a:defRPr sz="2000" kern="1200">
                <a:solidFill>
                  <a:schemeClr val="dk1"/>
                </a:solidFill>
                <a:latin typeface="+mn-lt"/>
                <a:ea typeface="+mn-ea"/>
                <a:cs typeface="+mn-cs"/>
              </a:defRPr>
            </a:lvl1pPr>
            <a:lvl2pPr marL="265113" indent="-26511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dk1"/>
                </a:solidFill>
                <a:latin typeface="+mn-lt"/>
                <a:ea typeface="+mn-ea"/>
                <a:cs typeface="+mn-cs"/>
              </a:defRPr>
            </a:lvl2pPr>
            <a:lvl3pPr marL="541338" indent="-276225"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dk1"/>
                </a:solidFill>
                <a:latin typeface="+mn-lt"/>
                <a:ea typeface="+mn-ea"/>
                <a:cs typeface="+mn-cs"/>
              </a:defRPr>
            </a:lvl3pPr>
            <a:lvl4pPr marL="806450" indent="-265113"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dk1"/>
                </a:solidFill>
                <a:latin typeface="+mn-lt"/>
                <a:ea typeface="+mn-ea"/>
                <a:cs typeface="+mn-cs"/>
              </a:defRPr>
            </a:lvl4pPr>
            <a:lvl5pPr marL="1071563" indent="-265113"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342900" indent="-342900">
              <a:buFont typeface="Arial" panose="020B0604020202020204" pitchFamily="34" charset="0"/>
              <a:buChar char="•"/>
            </a:pPr>
            <a:endParaRPr lang="nl-NL" sz="2400" dirty="0"/>
          </a:p>
          <a:p>
            <a:pPr lvl="1" indent="0">
              <a:buFont typeface="Arial" panose="020B0604020202020204" pitchFamily="34" charset="0"/>
              <a:buNone/>
            </a:pPr>
            <a:endParaRPr lang="nl-NL" sz="2400" dirty="0"/>
          </a:p>
        </p:txBody>
      </p:sp>
      <p:sp>
        <p:nvSpPr>
          <p:cNvPr id="17" name="Tijdelijke aanduiding voor inhoud 1">
            <a:extLst>
              <a:ext uri="{FF2B5EF4-FFF2-40B4-BE49-F238E27FC236}">
                <a16:creationId xmlns:a16="http://schemas.microsoft.com/office/drawing/2014/main" id="{9BFBF07B-8531-4DFB-3E25-C863EC9CD1E4}"/>
              </a:ext>
            </a:extLst>
          </p:cNvPr>
          <p:cNvSpPr txBox="1">
            <a:spLocks/>
          </p:cNvSpPr>
          <p:nvPr/>
        </p:nvSpPr>
        <p:spPr>
          <a:xfrm>
            <a:off x="618120" y="2348217"/>
            <a:ext cx="5072287" cy="3177741"/>
          </a:xfrm>
          <a:prstGeom prst="roundRect">
            <a:avLst/>
          </a:prstGeom>
        </p:spPr>
        <p:style>
          <a:lnRef idx="2">
            <a:schemeClr val="accent1"/>
          </a:lnRef>
          <a:fillRef idx="1">
            <a:schemeClr val="lt1"/>
          </a:fillRef>
          <a:effectRef idx="0">
            <a:schemeClr val="accent1"/>
          </a:effectRef>
          <a:fontRef idx="minor">
            <a:schemeClr val="dk1"/>
          </a:fontRef>
        </p:style>
        <p:txBody>
          <a:bodyPr vert="horz" wrap="square" lIns="0" tIns="0" rIns="0" bIns="0" rtlCol="0">
            <a:noAutofit/>
          </a:bodyPr>
          <a:lstStyle>
            <a:lvl1pPr marL="0" indent="0" algn="l" defTabSz="914400" rtl="0" eaLnBrk="1" latinLnBrk="0" hangingPunct="1">
              <a:lnSpc>
                <a:spcPct val="100000"/>
              </a:lnSpc>
              <a:spcBef>
                <a:spcPts val="0"/>
              </a:spcBef>
              <a:spcAft>
                <a:spcPts val="300"/>
              </a:spcAft>
              <a:buFontTx/>
              <a:buNone/>
              <a:defRPr sz="2000" kern="1200">
                <a:solidFill>
                  <a:schemeClr val="dk1"/>
                </a:solidFill>
                <a:latin typeface="+mn-lt"/>
                <a:ea typeface="+mn-ea"/>
                <a:cs typeface="+mn-cs"/>
              </a:defRPr>
            </a:lvl1pPr>
            <a:lvl2pPr marL="265113" indent="-26511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dk1"/>
                </a:solidFill>
                <a:latin typeface="+mn-lt"/>
                <a:ea typeface="+mn-ea"/>
                <a:cs typeface="+mn-cs"/>
              </a:defRPr>
            </a:lvl2pPr>
            <a:lvl3pPr marL="541338" indent="-276225"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dk1"/>
                </a:solidFill>
                <a:latin typeface="+mn-lt"/>
                <a:ea typeface="+mn-ea"/>
                <a:cs typeface="+mn-cs"/>
              </a:defRPr>
            </a:lvl3pPr>
            <a:lvl4pPr marL="806450" indent="-265113"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dk1"/>
                </a:solidFill>
                <a:latin typeface="+mn-lt"/>
                <a:ea typeface="+mn-ea"/>
                <a:cs typeface="+mn-cs"/>
              </a:defRPr>
            </a:lvl4pPr>
            <a:lvl5pPr marL="1071563" indent="-265113"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342900" indent="-342900">
              <a:buFont typeface="Arial" panose="020B0604020202020204" pitchFamily="34" charset="0"/>
              <a:buChar char="•"/>
            </a:pPr>
            <a:endParaRPr lang="nl-NL" sz="2400" dirty="0"/>
          </a:p>
          <a:p>
            <a:pPr lvl="1" indent="0">
              <a:buFont typeface="Arial" panose="020B0604020202020204" pitchFamily="34" charset="0"/>
              <a:buNone/>
            </a:pPr>
            <a:endParaRPr lang="nl-NL" sz="2400" dirty="0"/>
          </a:p>
        </p:txBody>
      </p:sp>
      <p:sp>
        <p:nvSpPr>
          <p:cNvPr id="2" name="Tijdelijke aanduiding voor inhoud 1">
            <a:extLst>
              <a:ext uri="{FF2B5EF4-FFF2-40B4-BE49-F238E27FC236}">
                <a16:creationId xmlns:a16="http://schemas.microsoft.com/office/drawing/2014/main" id="{CCE08DAF-255A-8A44-2157-4406852DBFD9}"/>
              </a:ext>
            </a:extLst>
          </p:cNvPr>
          <p:cNvSpPr>
            <a:spLocks noGrp="1"/>
          </p:cNvSpPr>
          <p:nvPr>
            <p:ph idx="1"/>
          </p:nvPr>
        </p:nvSpPr>
        <p:spPr>
          <a:xfrm>
            <a:off x="637310" y="1799999"/>
            <a:ext cx="11360726" cy="3005917"/>
          </a:xfrm>
        </p:spPr>
        <p:txBody>
          <a:bodyPr/>
          <a:lstStyle/>
          <a:p>
            <a:pPr marL="342900" indent="-342900" algn="l">
              <a:buFont typeface="Arial" panose="020B0604020202020204" pitchFamily="34" charset="0"/>
              <a:buChar char="•"/>
            </a:pPr>
            <a:r>
              <a:rPr lang="en-US" sz="2400" dirty="0">
                <a:latin typeface="MinionPro-Regular"/>
              </a:rPr>
              <a:t>Comparing efficacy of the intervention: </a:t>
            </a:r>
            <a:r>
              <a:rPr lang="en-US" sz="2400" b="1" dirty="0">
                <a:latin typeface="MinionPro-Regular"/>
              </a:rPr>
              <a:t>face-to-face</a:t>
            </a:r>
            <a:r>
              <a:rPr lang="en-US" sz="2400" dirty="0">
                <a:latin typeface="MinionPro-Regular"/>
              </a:rPr>
              <a:t> versus </a:t>
            </a:r>
            <a:r>
              <a:rPr lang="en-US" sz="2400" b="1" dirty="0">
                <a:latin typeface="MinionPro-Regular"/>
              </a:rPr>
              <a:t>online</a:t>
            </a:r>
          </a:p>
          <a:p>
            <a:pPr lvl="1" indent="0">
              <a:buNone/>
            </a:pPr>
            <a:endParaRPr lang="en-US" dirty="0">
              <a:latin typeface="MinionPro-Regular"/>
            </a:endParaRPr>
          </a:p>
          <a:p>
            <a:pPr marL="608013" lvl="1" indent="-342900"/>
            <a:endParaRPr lang="en-US" dirty="0">
              <a:latin typeface="MinionPro-Regular"/>
            </a:endParaRPr>
          </a:p>
          <a:p>
            <a:pPr marL="608013" lvl="1" indent="-342900"/>
            <a:endParaRPr lang="en-US" dirty="0">
              <a:latin typeface="MinionPro-Regular"/>
            </a:endParaRPr>
          </a:p>
          <a:p>
            <a:pPr marL="608013" lvl="1" indent="-342900"/>
            <a:endParaRPr lang="en-US" dirty="0">
              <a:latin typeface="MinionPro-Regular"/>
            </a:endParaRPr>
          </a:p>
          <a:p>
            <a:pPr marL="608013" lvl="1" indent="-342900"/>
            <a:endParaRPr lang="en-US" dirty="0">
              <a:latin typeface="MinionPro-Regular"/>
            </a:endParaRPr>
          </a:p>
          <a:p>
            <a:pPr marL="608013" lvl="1" indent="-342900"/>
            <a:endParaRPr lang="en-US" dirty="0">
              <a:latin typeface="MinionPro-Regular"/>
            </a:endParaRPr>
          </a:p>
          <a:p>
            <a:pPr marL="608013" lvl="1" indent="-342900"/>
            <a:endParaRPr lang="en-US" dirty="0">
              <a:latin typeface="MinionPro-Regular"/>
            </a:endParaRPr>
          </a:p>
          <a:p>
            <a:pPr lvl="1" indent="0">
              <a:buNone/>
            </a:pPr>
            <a:r>
              <a:rPr lang="en-US" sz="2400" dirty="0">
                <a:latin typeface="MinionPro-Regular"/>
              </a:rPr>
              <a:t>	Treatment online (</a:t>
            </a:r>
            <a:r>
              <a:rPr lang="en-US" sz="2400" i="1" dirty="0">
                <a:latin typeface="MinionPro-Regular"/>
              </a:rPr>
              <a:t>N</a:t>
            </a:r>
            <a:r>
              <a:rPr lang="en-US" sz="2400" dirty="0">
                <a:latin typeface="MinionPro-Regular"/>
              </a:rPr>
              <a:t> = 69)</a:t>
            </a:r>
            <a:r>
              <a:rPr lang="en-US" dirty="0">
                <a:latin typeface="MinionPro-Regular"/>
              </a:rPr>
              <a:t>			</a:t>
            </a:r>
            <a:r>
              <a:rPr lang="en-US" sz="2400" dirty="0">
                <a:latin typeface="MinionPro-Regular"/>
              </a:rPr>
              <a:t>Treatment face-to-face (</a:t>
            </a:r>
            <a:r>
              <a:rPr lang="en-US" sz="2400" i="1" dirty="0">
                <a:latin typeface="MinionPro-Regular"/>
              </a:rPr>
              <a:t>N </a:t>
            </a:r>
            <a:r>
              <a:rPr lang="en-US" sz="2400" dirty="0">
                <a:latin typeface="MinionPro-Regular"/>
              </a:rPr>
              <a:t>= 76)</a:t>
            </a:r>
          </a:p>
          <a:p>
            <a:pPr lvl="1" indent="0">
              <a:buNone/>
            </a:pPr>
            <a:endParaRPr lang="en-US" dirty="0">
              <a:latin typeface="MinionPro-Regular"/>
            </a:endParaRPr>
          </a:p>
          <a:p>
            <a:pPr marL="342900" indent="-342900" algn="l">
              <a:buFont typeface="Arial" panose="020B0604020202020204" pitchFamily="34" charset="0"/>
              <a:buChar char="•"/>
            </a:pPr>
            <a:endParaRPr lang="en-US" dirty="0">
              <a:latin typeface="MinionPro-Regular"/>
            </a:endParaRPr>
          </a:p>
        </p:txBody>
      </p:sp>
      <p:sp>
        <p:nvSpPr>
          <p:cNvPr id="3" name="Titel 2">
            <a:extLst>
              <a:ext uri="{FF2B5EF4-FFF2-40B4-BE49-F238E27FC236}">
                <a16:creationId xmlns:a16="http://schemas.microsoft.com/office/drawing/2014/main" id="{935E60E4-79E5-791A-E9CD-841BA67025C1}"/>
              </a:ext>
            </a:extLst>
          </p:cNvPr>
          <p:cNvSpPr>
            <a:spLocks noGrp="1"/>
          </p:cNvSpPr>
          <p:nvPr>
            <p:ph type="title"/>
          </p:nvPr>
        </p:nvSpPr>
        <p:spPr/>
        <p:txBody>
          <a:bodyPr/>
          <a:lstStyle/>
          <a:p>
            <a:r>
              <a:rPr lang="nl-NL" dirty="0" err="1"/>
              <a:t>Objectives</a:t>
            </a:r>
            <a:endParaRPr lang="nl-NL" dirty="0"/>
          </a:p>
        </p:txBody>
      </p:sp>
      <p:sp>
        <p:nvSpPr>
          <p:cNvPr id="4" name="Tijdelijke aanduiding voor dianummer 3">
            <a:extLst>
              <a:ext uri="{FF2B5EF4-FFF2-40B4-BE49-F238E27FC236}">
                <a16:creationId xmlns:a16="http://schemas.microsoft.com/office/drawing/2014/main" id="{17465FB2-1699-C02D-CA7F-C023A2151AD0}"/>
              </a:ext>
            </a:extLst>
          </p:cNvPr>
          <p:cNvSpPr>
            <a:spLocks noGrp="1"/>
          </p:cNvSpPr>
          <p:nvPr>
            <p:ph type="sldNum" sz="quarter" idx="4"/>
          </p:nvPr>
        </p:nvSpPr>
        <p:spPr/>
        <p:txBody>
          <a:bodyPr/>
          <a:lstStyle/>
          <a:p>
            <a:fld id="{01ED78C3-3A94-496B-9AE8-73034C580365}" type="slidenum">
              <a:rPr lang="en-US" smtClean="0"/>
              <a:pPr/>
              <a:t>5</a:t>
            </a:fld>
            <a:endParaRPr lang="en-US"/>
          </a:p>
        </p:txBody>
      </p:sp>
      <p:sp>
        <p:nvSpPr>
          <p:cNvPr id="8" name="Tijdelijke aanduiding voor inhoud 1">
            <a:extLst>
              <a:ext uri="{FF2B5EF4-FFF2-40B4-BE49-F238E27FC236}">
                <a16:creationId xmlns:a16="http://schemas.microsoft.com/office/drawing/2014/main" id="{6AF2BCE9-6846-89E9-094E-C3796798BEED}"/>
              </a:ext>
            </a:extLst>
          </p:cNvPr>
          <p:cNvSpPr txBox="1">
            <a:spLocks/>
          </p:cNvSpPr>
          <p:nvPr/>
        </p:nvSpPr>
        <p:spPr>
          <a:xfrm>
            <a:off x="6570361" y="4459551"/>
            <a:ext cx="2794889" cy="1128191"/>
          </a:xfrm>
          <a:prstGeom prst="rect">
            <a:avLst/>
          </a:prstGeom>
          <a:noFill/>
        </p:spPr>
        <p:txBody>
          <a:bodyPr vert="horz" wrap="square" lIns="0" tIns="0" rIns="0" bIns="0" rtlCol="0">
            <a:noAutofit/>
          </a:bodyPr>
          <a:lstStyle>
            <a:lvl1pPr marL="0" indent="0" algn="l" defTabSz="914400" rtl="0" eaLnBrk="1" latinLnBrk="0" hangingPunct="1">
              <a:lnSpc>
                <a:spcPct val="100000"/>
              </a:lnSpc>
              <a:spcBef>
                <a:spcPts val="0"/>
              </a:spcBef>
              <a:spcAft>
                <a:spcPts val="300"/>
              </a:spcAft>
              <a:buFontTx/>
              <a:buNone/>
              <a:defRPr sz="2000" kern="1200">
                <a:solidFill>
                  <a:schemeClr val="tx1"/>
                </a:solidFill>
                <a:latin typeface="+mn-lt"/>
                <a:ea typeface="+mn-ea"/>
                <a:cs typeface="+mn-cs"/>
              </a:defRPr>
            </a:lvl1pPr>
            <a:lvl2pPr marL="265113" indent="-26511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2pPr>
            <a:lvl3pPr marL="541338" indent="-276225"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tx1"/>
                </a:solidFill>
                <a:latin typeface="+mn-lt"/>
                <a:ea typeface="+mn-ea"/>
                <a:cs typeface="+mn-cs"/>
              </a:defRPr>
            </a:lvl3pPr>
            <a:lvl4pPr marL="806450" indent="-265113"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tx1"/>
                </a:solidFill>
                <a:latin typeface="+mn-lt"/>
                <a:ea typeface="+mn-ea"/>
                <a:cs typeface="+mn-cs"/>
              </a:defRPr>
            </a:lvl4pPr>
            <a:lvl5pPr marL="1071563" indent="-265113"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dirty="0"/>
          </a:p>
        </p:txBody>
      </p:sp>
      <p:pic>
        <p:nvPicPr>
          <p:cNvPr id="11" name="Graphic 10" descr="Onlinevergadering silhouet">
            <a:extLst>
              <a:ext uri="{FF2B5EF4-FFF2-40B4-BE49-F238E27FC236}">
                <a16:creationId xmlns:a16="http://schemas.microsoft.com/office/drawing/2014/main" id="{3C5B1CC3-9DC1-7A7A-A403-87E8BDCA0C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12561" y="2490273"/>
            <a:ext cx="1969278" cy="1969278"/>
          </a:xfrm>
          <a:prstGeom prst="rect">
            <a:avLst/>
          </a:prstGeom>
        </p:spPr>
      </p:pic>
      <p:pic>
        <p:nvPicPr>
          <p:cNvPr id="13" name="Graphic 12" descr="Directiekamer silhouet">
            <a:extLst>
              <a:ext uri="{FF2B5EF4-FFF2-40B4-BE49-F238E27FC236}">
                <a16:creationId xmlns:a16="http://schemas.microsoft.com/office/drawing/2014/main" id="{69A4161C-4AC1-E5F7-0194-91288D68813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743868" y="2307742"/>
            <a:ext cx="2334340" cy="2334340"/>
          </a:xfrm>
          <a:prstGeom prst="rect">
            <a:avLst/>
          </a:prstGeom>
        </p:spPr>
      </p:pic>
    </p:spTree>
    <p:extLst>
      <p:ext uri="{BB962C8B-B14F-4D97-AF65-F5344CB8AC3E}">
        <p14:creationId xmlns:p14="http://schemas.microsoft.com/office/powerpoint/2010/main" val="34194235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EC70630F-BB84-BD7B-B30F-70A9E7618FF0}"/>
              </a:ext>
            </a:extLst>
          </p:cNvPr>
          <p:cNvSpPr>
            <a:spLocks noGrp="1"/>
          </p:cNvSpPr>
          <p:nvPr>
            <p:ph idx="1"/>
          </p:nvPr>
        </p:nvSpPr>
        <p:spPr/>
        <p:txBody>
          <a:bodyPr/>
          <a:lstStyle/>
          <a:p>
            <a:r>
              <a:rPr lang="en-GB" sz="2000" dirty="0"/>
              <a:t>To what extent does the 5-Step Method lead towards lower levels of family burden reported by affected family members (AFMs)?</a:t>
            </a:r>
            <a:endParaRPr lang="nl-NL" sz="2000" dirty="0"/>
          </a:p>
          <a:p>
            <a:endParaRPr lang="nl-NL" dirty="0"/>
          </a:p>
        </p:txBody>
      </p:sp>
      <p:sp>
        <p:nvSpPr>
          <p:cNvPr id="3" name="Titel 2">
            <a:extLst>
              <a:ext uri="{FF2B5EF4-FFF2-40B4-BE49-F238E27FC236}">
                <a16:creationId xmlns:a16="http://schemas.microsoft.com/office/drawing/2014/main" id="{4A0ECD16-7D6E-4FA5-4B1E-2C81F4CE1971}"/>
              </a:ext>
            </a:extLst>
          </p:cNvPr>
          <p:cNvSpPr>
            <a:spLocks noGrp="1"/>
          </p:cNvSpPr>
          <p:nvPr>
            <p:ph type="title"/>
          </p:nvPr>
        </p:nvSpPr>
        <p:spPr/>
        <p:txBody>
          <a:bodyPr/>
          <a:lstStyle/>
          <a:p>
            <a:r>
              <a:rPr lang="nl-NL" dirty="0"/>
              <a:t>Research question</a:t>
            </a:r>
          </a:p>
        </p:txBody>
      </p:sp>
      <p:sp>
        <p:nvSpPr>
          <p:cNvPr id="4" name="Tijdelijke aanduiding voor dianummer 3">
            <a:extLst>
              <a:ext uri="{FF2B5EF4-FFF2-40B4-BE49-F238E27FC236}">
                <a16:creationId xmlns:a16="http://schemas.microsoft.com/office/drawing/2014/main" id="{D0EED66B-4BBB-909F-DB55-87025A4AED27}"/>
              </a:ext>
            </a:extLst>
          </p:cNvPr>
          <p:cNvSpPr>
            <a:spLocks noGrp="1"/>
          </p:cNvSpPr>
          <p:nvPr>
            <p:ph type="sldNum" sz="quarter" idx="4"/>
          </p:nvPr>
        </p:nvSpPr>
        <p:spPr/>
        <p:txBody>
          <a:bodyPr/>
          <a:lstStyle/>
          <a:p>
            <a:fld id="{01ED78C3-3A94-496B-9AE8-73034C580365}" type="slidenum">
              <a:rPr lang="en-US" smtClean="0"/>
              <a:pPr/>
              <a:t>6</a:t>
            </a:fld>
            <a:endParaRPr lang="en-US"/>
          </a:p>
        </p:txBody>
      </p:sp>
    </p:spTree>
    <p:extLst>
      <p:ext uri="{BB962C8B-B14F-4D97-AF65-F5344CB8AC3E}">
        <p14:creationId xmlns:p14="http://schemas.microsoft.com/office/powerpoint/2010/main" val="38780545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1EAF53B5-9C36-4696-A500-97EEFEAD0465}"/>
              </a:ext>
            </a:extLst>
          </p:cNvPr>
          <p:cNvSpPr>
            <a:spLocks noGrp="1"/>
          </p:cNvSpPr>
          <p:nvPr>
            <p:ph idx="1"/>
          </p:nvPr>
        </p:nvSpPr>
        <p:spPr>
          <a:xfrm>
            <a:off x="911752" y="1799999"/>
            <a:ext cx="10377649" cy="4086451"/>
          </a:xfrm>
        </p:spPr>
        <p:txBody>
          <a:bodyPr/>
          <a:lstStyle/>
          <a:p>
            <a:pPr marL="550863" lvl="1" indent="-285750"/>
            <a:endParaRPr lang="en-US" sz="2000" dirty="0">
              <a:latin typeface="MinionPro-Regular"/>
            </a:endParaRPr>
          </a:p>
          <a:p>
            <a:pPr marL="550863" lvl="1" indent="-285750"/>
            <a:endParaRPr lang="nl-NL" sz="1800" dirty="0">
              <a:latin typeface="MinionPro-Regular"/>
            </a:endParaRPr>
          </a:p>
        </p:txBody>
      </p:sp>
      <p:sp>
        <p:nvSpPr>
          <p:cNvPr id="3" name="Titel 2">
            <a:extLst>
              <a:ext uri="{FF2B5EF4-FFF2-40B4-BE49-F238E27FC236}">
                <a16:creationId xmlns:a16="http://schemas.microsoft.com/office/drawing/2014/main" id="{C70D0130-8381-4DCE-8750-5A6F4A400CFF}"/>
              </a:ext>
            </a:extLst>
          </p:cNvPr>
          <p:cNvSpPr>
            <a:spLocks noGrp="1"/>
          </p:cNvSpPr>
          <p:nvPr>
            <p:ph type="title"/>
          </p:nvPr>
        </p:nvSpPr>
        <p:spPr/>
        <p:txBody>
          <a:bodyPr/>
          <a:lstStyle/>
          <a:p>
            <a:r>
              <a:rPr lang="nl-NL" dirty="0" err="1"/>
              <a:t>Methods</a:t>
            </a:r>
            <a:r>
              <a:rPr lang="nl-NL" dirty="0"/>
              <a:t> – </a:t>
            </a:r>
            <a:r>
              <a:rPr lang="nl-NL" dirty="0" err="1"/>
              <a:t>Number</a:t>
            </a:r>
            <a:r>
              <a:rPr lang="nl-NL" dirty="0"/>
              <a:t> of </a:t>
            </a:r>
            <a:r>
              <a:rPr lang="nl-NL" dirty="0" err="1"/>
              <a:t>measurements</a:t>
            </a:r>
            <a:r>
              <a:rPr lang="nl-NL" dirty="0"/>
              <a:t> </a:t>
            </a:r>
            <a:r>
              <a:rPr lang="nl-NL" dirty="0" err="1"/>
              <a:t>collected</a:t>
            </a:r>
            <a:endParaRPr lang="nl-NL" dirty="0"/>
          </a:p>
        </p:txBody>
      </p:sp>
      <p:sp>
        <p:nvSpPr>
          <p:cNvPr id="4" name="Tijdelijke aanduiding voor dianummer 3">
            <a:extLst>
              <a:ext uri="{FF2B5EF4-FFF2-40B4-BE49-F238E27FC236}">
                <a16:creationId xmlns:a16="http://schemas.microsoft.com/office/drawing/2014/main" id="{731CD20F-2F05-481B-810F-F8D744D85D86}"/>
              </a:ext>
            </a:extLst>
          </p:cNvPr>
          <p:cNvSpPr>
            <a:spLocks noGrp="1"/>
          </p:cNvSpPr>
          <p:nvPr>
            <p:ph type="sldNum" sz="quarter" idx="4"/>
          </p:nvPr>
        </p:nvSpPr>
        <p:spPr/>
        <p:txBody>
          <a:bodyPr/>
          <a:lstStyle/>
          <a:p>
            <a:fld id="{01ED78C3-3A94-496B-9AE8-73034C580365}" type="slidenum">
              <a:rPr lang="en-US" smtClean="0"/>
              <a:pPr/>
              <a:t>7</a:t>
            </a:fld>
            <a:endParaRPr lang="en-US"/>
          </a:p>
        </p:txBody>
      </p:sp>
      <p:sp>
        <p:nvSpPr>
          <p:cNvPr id="5" name="Tekstvak 4">
            <a:extLst>
              <a:ext uri="{FF2B5EF4-FFF2-40B4-BE49-F238E27FC236}">
                <a16:creationId xmlns:a16="http://schemas.microsoft.com/office/drawing/2014/main" id="{C8B6928D-BD29-6792-30B1-CA02C397DFA3}"/>
              </a:ext>
            </a:extLst>
          </p:cNvPr>
          <p:cNvSpPr txBox="1"/>
          <p:nvPr/>
        </p:nvSpPr>
        <p:spPr>
          <a:xfrm>
            <a:off x="573422" y="1718947"/>
            <a:ext cx="9593043" cy="1107996"/>
          </a:xfrm>
          <a:prstGeom prst="rect">
            <a:avLst/>
          </a:prstGeom>
          <a:noFill/>
        </p:spPr>
        <p:txBody>
          <a:bodyPr wrap="square" lIns="0" tIns="0" rIns="0" bIns="0" rtlCol="0">
            <a:spAutoFit/>
          </a:bodyPr>
          <a:lstStyle/>
          <a:p>
            <a:pPr algn="l"/>
            <a:endParaRPr lang="en-US" sz="2400" dirty="0">
              <a:latin typeface="MinionPro-Regular"/>
            </a:endParaRPr>
          </a:p>
          <a:p>
            <a:pPr algn="l"/>
            <a:endParaRPr lang="en-US" sz="2400" dirty="0">
              <a:latin typeface="MinionPro-Regular"/>
            </a:endParaRPr>
          </a:p>
          <a:p>
            <a:pPr algn="l"/>
            <a:endParaRPr lang="nl-NL" sz="2400" dirty="0">
              <a:latin typeface="MinionPro-Regular"/>
            </a:endParaRPr>
          </a:p>
        </p:txBody>
      </p:sp>
      <p:graphicFrame>
        <p:nvGraphicFramePr>
          <p:cNvPr id="6" name="Diagram 5">
            <a:extLst>
              <a:ext uri="{FF2B5EF4-FFF2-40B4-BE49-F238E27FC236}">
                <a16:creationId xmlns:a16="http://schemas.microsoft.com/office/drawing/2014/main" id="{5841235E-4015-02D3-211B-0FADF0459576}"/>
              </a:ext>
            </a:extLst>
          </p:cNvPr>
          <p:cNvGraphicFramePr/>
          <p:nvPr>
            <p:extLst>
              <p:ext uri="{D42A27DB-BD31-4B8C-83A1-F6EECF244321}">
                <p14:modId xmlns:p14="http://schemas.microsoft.com/office/powerpoint/2010/main" val="3265680185"/>
              </p:ext>
            </p:extLst>
          </p:nvPr>
        </p:nvGraphicFramePr>
        <p:xfrm>
          <a:off x="2025535" y="467783"/>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201343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C70D0130-8381-4DCE-8750-5A6F4A400CFF}"/>
              </a:ext>
            </a:extLst>
          </p:cNvPr>
          <p:cNvSpPr>
            <a:spLocks noGrp="1"/>
          </p:cNvSpPr>
          <p:nvPr>
            <p:ph type="title"/>
          </p:nvPr>
        </p:nvSpPr>
        <p:spPr>
          <a:xfrm>
            <a:off x="902599" y="360000"/>
            <a:ext cx="10386802" cy="443198"/>
          </a:xfrm>
        </p:spPr>
        <p:txBody>
          <a:bodyPr vert="horz" wrap="square" lIns="0" tIns="0" rIns="0" bIns="0" rtlCol="0" anchor="t">
            <a:normAutofit/>
          </a:bodyPr>
          <a:lstStyle/>
          <a:p>
            <a:r>
              <a:rPr lang="nl-NL" b="1" kern="1200"/>
              <a:t>Results – 5-Step Method</a:t>
            </a:r>
          </a:p>
        </p:txBody>
      </p:sp>
      <p:sp>
        <p:nvSpPr>
          <p:cNvPr id="2" name="Tijdelijke aanduiding voor inhoud 1">
            <a:extLst>
              <a:ext uri="{FF2B5EF4-FFF2-40B4-BE49-F238E27FC236}">
                <a16:creationId xmlns:a16="http://schemas.microsoft.com/office/drawing/2014/main" id="{1EAF53B5-9C36-4696-A500-97EEFEAD0465}"/>
              </a:ext>
            </a:extLst>
          </p:cNvPr>
          <p:cNvSpPr>
            <a:spLocks noGrp="1"/>
          </p:cNvSpPr>
          <p:nvPr>
            <p:ph type="body" idx="12"/>
          </p:nvPr>
        </p:nvSpPr>
        <p:spPr>
          <a:xfrm>
            <a:off x="911752" y="1721037"/>
            <a:ext cx="10369023" cy="307777"/>
          </a:xfrm>
        </p:spPr>
        <p:txBody>
          <a:bodyPr vert="horz" wrap="square" lIns="0" tIns="0" rIns="0" bIns="0" rtlCol="0" anchor="b" anchorCtr="0">
            <a:normAutofit/>
          </a:bodyPr>
          <a:lstStyle/>
          <a:p>
            <a:pPr>
              <a:lnSpc>
                <a:spcPct val="90000"/>
              </a:lnSpc>
            </a:pPr>
            <a:endParaRPr lang="nl-NL" sz="1900"/>
          </a:p>
          <a:p>
            <a:pPr>
              <a:lnSpc>
                <a:spcPct val="90000"/>
              </a:lnSpc>
            </a:pPr>
            <a:endParaRPr lang="nl-NL" sz="1900"/>
          </a:p>
        </p:txBody>
      </p:sp>
      <p:sp>
        <p:nvSpPr>
          <p:cNvPr id="4" name="Tijdelijke aanduiding voor dianummer 3">
            <a:extLst>
              <a:ext uri="{FF2B5EF4-FFF2-40B4-BE49-F238E27FC236}">
                <a16:creationId xmlns:a16="http://schemas.microsoft.com/office/drawing/2014/main" id="{731CD20F-2F05-481B-810F-F8D744D85D86}"/>
              </a:ext>
            </a:extLst>
          </p:cNvPr>
          <p:cNvSpPr>
            <a:spLocks noGrp="1"/>
          </p:cNvSpPr>
          <p:nvPr>
            <p:ph type="sldNum" sz="quarter" idx="4"/>
          </p:nvPr>
        </p:nvSpPr>
        <p:spPr>
          <a:xfrm>
            <a:off x="361178" y="6246000"/>
            <a:ext cx="398364" cy="153888"/>
          </a:xfrm>
        </p:spPr>
        <p:txBody>
          <a:bodyPr vert="horz" wrap="square" lIns="0" tIns="0" rIns="0" bIns="0" rtlCol="0" anchor="ctr">
            <a:normAutofit/>
          </a:bodyPr>
          <a:lstStyle/>
          <a:p>
            <a:pPr>
              <a:spcAft>
                <a:spcPts val="600"/>
              </a:spcAft>
            </a:pPr>
            <a:fld id="{01ED78C3-3A94-496B-9AE8-73034C580365}" type="slidenum">
              <a:rPr lang="en-US" smtClean="0"/>
              <a:pPr>
                <a:spcAft>
                  <a:spcPts val="600"/>
                </a:spcAft>
              </a:pPr>
              <a:t>8</a:t>
            </a:fld>
            <a:endParaRPr lang="en-US"/>
          </a:p>
        </p:txBody>
      </p:sp>
      <p:graphicFrame>
        <p:nvGraphicFramePr>
          <p:cNvPr id="15" name="Tekstvak 12">
            <a:extLst>
              <a:ext uri="{FF2B5EF4-FFF2-40B4-BE49-F238E27FC236}">
                <a16:creationId xmlns:a16="http://schemas.microsoft.com/office/drawing/2014/main" id="{AA4C9DBC-622F-6462-3B15-86F7672EA539}"/>
              </a:ext>
            </a:extLst>
          </p:cNvPr>
          <p:cNvGraphicFramePr/>
          <p:nvPr>
            <p:extLst>
              <p:ext uri="{D42A27DB-BD31-4B8C-83A1-F6EECF244321}">
                <p14:modId xmlns:p14="http://schemas.microsoft.com/office/powerpoint/2010/main" val="526765770"/>
              </p:ext>
            </p:extLst>
          </p:nvPr>
        </p:nvGraphicFramePr>
        <p:xfrm>
          <a:off x="893446" y="1772093"/>
          <a:ext cx="10386802" cy="31081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29904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C70D0130-8381-4DCE-8750-5A6F4A400CFF}"/>
              </a:ext>
            </a:extLst>
          </p:cNvPr>
          <p:cNvSpPr>
            <a:spLocks noGrp="1"/>
          </p:cNvSpPr>
          <p:nvPr>
            <p:ph type="title"/>
          </p:nvPr>
        </p:nvSpPr>
        <p:spPr>
          <a:xfrm>
            <a:off x="911752" y="333874"/>
            <a:ext cx="10386802" cy="443198"/>
          </a:xfrm>
        </p:spPr>
        <p:txBody>
          <a:bodyPr/>
          <a:lstStyle/>
          <a:p>
            <a:r>
              <a:rPr lang="nl-NL"/>
              <a:t>Results – 5-Step Method</a:t>
            </a:r>
            <a:endParaRPr lang="nl-NL" dirty="0"/>
          </a:p>
        </p:txBody>
      </p:sp>
      <p:sp>
        <p:nvSpPr>
          <p:cNvPr id="4" name="Tijdelijke aanduiding voor dianummer 3">
            <a:extLst>
              <a:ext uri="{FF2B5EF4-FFF2-40B4-BE49-F238E27FC236}">
                <a16:creationId xmlns:a16="http://schemas.microsoft.com/office/drawing/2014/main" id="{731CD20F-2F05-481B-810F-F8D744D85D86}"/>
              </a:ext>
            </a:extLst>
          </p:cNvPr>
          <p:cNvSpPr>
            <a:spLocks noGrp="1"/>
          </p:cNvSpPr>
          <p:nvPr>
            <p:ph type="sldNum" sz="quarter" idx="4"/>
          </p:nvPr>
        </p:nvSpPr>
        <p:spPr/>
        <p:txBody>
          <a:bodyPr/>
          <a:lstStyle/>
          <a:p>
            <a:fld id="{01ED78C3-3A94-496B-9AE8-73034C580365}" type="slidenum">
              <a:rPr lang="en-US" smtClean="0"/>
              <a:pPr/>
              <a:t>9</a:t>
            </a:fld>
            <a:endParaRPr lang="en-US"/>
          </a:p>
        </p:txBody>
      </p:sp>
      <p:sp>
        <p:nvSpPr>
          <p:cNvPr id="5" name="Tijdelijke aanduiding voor inhoud 4">
            <a:extLst>
              <a:ext uri="{FF2B5EF4-FFF2-40B4-BE49-F238E27FC236}">
                <a16:creationId xmlns:a16="http://schemas.microsoft.com/office/drawing/2014/main" id="{5341686F-D0DD-265A-DB7D-00EFC2BC2F53}"/>
              </a:ext>
            </a:extLst>
          </p:cNvPr>
          <p:cNvSpPr>
            <a:spLocks noGrp="1"/>
          </p:cNvSpPr>
          <p:nvPr>
            <p:ph idx="1"/>
          </p:nvPr>
        </p:nvSpPr>
        <p:spPr/>
        <p:txBody>
          <a:bodyPr/>
          <a:lstStyle/>
          <a:p>
            <a:endParaRPr lang="nl-NL" dirty="0"/>
          </a:p>
        </p:txBody>
      </p:sp>
      <p:sp>
        <p:nvSpPr>
          <p:cNvPr id="8" name="Tekstvak 7">
            <a:extLst>
              <a:ext uri="{FF2B5EF4-FFF2-40B4-BE49-F238E27FC236}">
                <a16:creationId xmlns:a16="http://schemas.microsoft.com/office/drawing/2014/main" id="{7FE35F3A-B740-B7C1-0801-A216A9511DFB}"/>
              </a:ext>
            </a:extLst>
          </p:cNvPr>
          <p:cNvSpPr txBox="1"/>
          <p:nvPr/>
        </p:nvSpPr>
        <p:spPr>
          <a:xfrm>
            <a:off x="759542" y="1318272"/>
            <a:ext cx="10458640" cy="5047536"/>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nl-NL" sz="2000" dirty="0"/>
              <a:t>Scores of different coping </a:t>
            </a:r>
            <a:r>
              <a:rPr lang="nl-NL" sz="2000" dirty="0" err="1"/>
              <a:t>styles</a:t>
            </a:r>
            <a:r>
              <a:rPr lang="nl-NL" sz="2000" dirty="0"/>
              <a:t> </a:t>
            </a:r>
            <a:r>
              <a:rPr lang="nl-NL" sz="2000" dirty="0" err="1"/>
              <a:t>also</a:t>
            </a:r>
            <a:r>
              <a:rPr lang="nl-NL" sz="2000" dirty="0"/>
              <a:t> </a:t>
            </a:r>
            <a:r>
              <a:rPr lang="nl-NL" sz="2000" dirty="0" err="1"/>
              <a:t>changed</a:t>
            </a:r>
            <a:r>
              <a:rPr lang="nl-NL" sz="2000" dirty="0"/>
              <a:t> </a:t>
            </a:r>
            <a:r>
              <a:rPr lang="nl-NL" sz="2000" dirty="0" err="1"/>
              <a:t>significantly</a:t>
            </a:r>
            <a:endParaRPr lang="nl-NL" sz="2000" dirty="0"/>
          </a:p>
          <a:p>
            <a:pPr marL="742950" lvl="1" indent="-285750">
              <a:buFont typeface="Arial" panose="020B0604020202020204" pitchFamily="34" charset="0"/>
              <a:buChar char="•"/>
            </a:pPr>
            <a:endParaRPr lang="nl-NL" sz="1600" dirty="0"/>
          </a:p>
          <a:p>
            <a:pPr marL="742950" lvl="1" indent="-285750">
              <a:buFont typeface="Arial" panose="020B0604020202020204" pitchFamily="34" charset="0"/>
              <a:buChar char="•"/>
            </a:pPr>
            <a:endParaRPr lang="nl-NL" sz="1600"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These results suggest that the 5-Step Method helps family members learn new </a:t>
            </a:r>
          </a:p>
          <a:p>
            <a:r>
              <a:rPr lang="en-US" sz="2000" dirty="0"/>
              <a:t>    skills or ways of behaving</a:t>
            </a:r>
            <a:endParaRPr lang="nl-NL" dirty="0"/>
          </a:p>
          <a:p>
            <a:pPr algn="l"/>
            <a:endParaRPr lang="nl-NL" dirty="0"/>
          </a:p>
          <a:p>
            <a:pPr algn="l"/>
            <a:endParaRPr lang="nl-NL" dirty="0"/>
          </a:p>
          <a:p>
            <a:pPr algn="l"/>
            <a:r>
              <a:rPr lang="nl-NL" dirty="0"/>
              <a:t> </a:t>
            </a:r>
          </a:p>
        </p:txBody>
      </p:sp>
      <p:sp>
        <p:nvSpPr>
          <p:cNvPr id="11" name="Tijdelijke aanduiding voor inhoud 5">
            <a:extLst>
              <a:ext uri="{FF2B5EF4-FFF2-40B4-BE49-F238E27FC236}">
                <a16:creationId xmlns:a16="http://schemas.microsoft.com/office/drawing/2014/main" id="{E4CD1E29-B482-6F18-6B5E-38F4881018D7}"/>
              </a:ext>
            </a:extLst>
          </p:cNvPr>
          <p:cNvSpPr txBox="1">
            <a:spLocks/>
          </p:cNvSpPr>
          <p:nvPr/>
        </p:nvSpPr>
        <p:spPr>
          <a:xfrm>
            <a:off x="973818" y="2209766"/>
            <a:ext cx="3218425" cy="2186381"/>
          </a:xfrm>
          <a:prstGeom prst="roundRect">
            <a:avLst/>
          </a:prstGeom>
        </p:spPr>
        <p:style>
          <a:lnRef idx="2">
            <a:schemeClr val="accent1"/>
          </a:lnRef>
          <a:fillRef idx="1">
            <a:schemeClr val="lt1"/>
          </a:fillRef>
          <a:effectRef idx="0">
            <a:schemeClr val="accent1"/>
          </a:effectRef>
          <a:fontRef idx="minor">
            <a:schemeClr val="dk1"/>
          </a:fontRef>
        </p:style>
        <p:txBody>
          <a:bodyPr/>
          <a:lstStyle>
            <a:lvl1pPr marL="0" indent="0" algn="l" defTabSz="914400" rtl="0" eaLnBrk="1" latinLnBrk="0" hangingPunct="1">
              <a:lnSpc>
                <a:spcPct val="100000"/>
              </a:lnSpc>
              <a:spcBef>
                <a:spcPts val="0"/>
              </a:spcBef>
              <a:spcAft>
                <a:spcPts val="300"/>
              </a:spcAft>
              <a:buFontTx/>
              <a:buNone/>
              <a:defRPr sz="2000" kern="1200">
                <a:solidFill>
                  <a:schemeClr val="dk1"/>
                </a:solidFill>
                <a:latin typeface="+mn-lt"/>
                <a:ea typeface="+mn-ea"/>
                <a:cs typeface="+mn-cs"/>
              </a:defRPr>
            </a:lvl1pPr>
            <a:lvl2pPr marL="265113" indent="-26511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dk1"/>
                </a:solidFill>
                <a:latin typeface="+mn-lt"/>
                <a:ea typeface="+mn-ea"/>
                <a:cs typeface="+mn-cs"/>
              </a:defRPr>
            </a:lvl2pPr>
            <a:lvl3pPr marL="541338" indent="-276225"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dk1"/>
                </a:solidFill>
                <a:latin typeface="+mn-lt"/>
                <a:ea typeface="+mn-ea"/>
                <a:cs typeface="+mn-cs"/>
              </a:defRPr>
            </a:lvl3pPr>
            <a:lvl4pPr marL="806450" indent="-265113"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dk1"/>
                </a:solidFill>
                <a:latin typeface="+mn-lt"/>
                <a:ea typeface="+mn-ea"/>
                <a:cs typeface="+mn-cs"/>
              </a:defRPr>
            </a:lvl4pPr>
            <a:lvl5pPr marL="1071563" indent="-265113"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457200" lvl="1" indent="0">
              <a:buNone/>
            </a:pPr>
            <a:r>
              <a:rPr lang="nl-NL" sz="2400" dirty="0" err="1"/>
              <a:t>Engaged</a:t>
            </a:r>
            <a:r>
              <a:rPr lang="nl-NL" sz="2400" dirty="0"/>
              <a:t> </a:t>
            </a:r>
            <a:r>
              <a:rPr lang="nl-NL" sz="2400" dirty="0" err="1"/>
              <a:t>Emotional</a:t>
            </a:r>
            <a:r>
              <a:rPr lang="nl-NL" sz="2400" dirty="0"/>
              <a:t> Coping  </a:t>
            </a:r>
            <a:r>
              <a:rPr lang="nl-NL" sz="2400" b="0" i="0" dirty="0">
                <a:solidFill>
                  <a:srgbClr val="202124"/>
                </a:solidFill>
                <a:effectLst/>
                <a:latin typeface="Google Sans"/>
              </a:rPr>
              <a:t> ↓</a:t>
            </a:r>
            <a:endParaRPr lang="nl-NL" sz="2400" dirty="0"/>
          </a:p>
        </p:txBody>
      </p:sp>
      <p:sp>
        <p:nvSpPr>
          <p:cNvPr id="12" name="Tijdelijke aanduiding voor inhoud 5">
            <a:extLst>
              <a:ext uri="{FF2B5EF4-FFF2-40B4-BE49-F238E27FC236}">
                <a16:creationId xmlns:a16="http://schemas.microsoft.com/office/drawing/2014/main" id="{57BBEFC7-BFE1-6D0D-BBBE-86EC5638AFB3}"/>
              </a:ext>
            </a:extLst>
          </p:cNvPr>
          <p:cNvSpPr txBox="1">
            <a:spLocks/>
          </p:cNvSpPr>
          <p:nvPr/>
        </p:nvSpPr>
        <p:spPr>
          <a:xfrm>
            <a:off x="4617564" y="2209766"/>
            <a:ext cx="3218425" cy="2186381"/>
          </a:xfrm>
          <a:prstGeom prst="roundRect">
            <a:avLst/>
          </a:prstGeom>
        </p:spPr>
        <p:style>
          <a:lnRef idx="2">
            <a:schemeClr val="accent1"/>
          </a:lnRef>
          <a:fillRef idx="1">
            <a:schemeClr val="lt1"/>
          </a:fillRef>
          <a:effectRef idx="0">
            <a:schemeClr val="accent1"/>
          </a:effectRef>
          <a:fontRef idx="minor">
            <a:schemeClr val="dk1"/>
          </a:fontRef>
        </p:style>
        <p:txBody>
          <a:bodyPr/>
          <a:lstStyle>
            <a:lvl1pPr marL="0" indent="0" algn="l" defTabSz="914400" rtl="0" eaLnBrk="1" latinLnBrk="0" hangingPunct="1">
              <a:lnSpc>
                <a:spcPct val="100000"/>
              </a:lnSpc>
              <a:spcBef>
                <a:spcPts val="0"/>
              </a:spcBef>
              <a:spcAft>
                <a:spcPts val="300"/>
              </a:spcAft>
              <a:buFontTx/>
              <a:buNone/>
              <a:defRPr sz="2000" kern="1200">
                <a:solidFill>
                  <a:schemeClr val="dk1"/>
                </a:solidFill>
                <a:latin typeface="+mn-lt"/>
                <a:ea typeface="+mn-ea"/>
                <a:cs typeface="+mn-cs"/>
              </a:defRPr>
            </a:lvl1pPr>
            <a:lvl2pPr marL="265113" indent="-26511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dk1"/>
                </a:solidFill>
                <a:latin typeface="+mn-lt"/>
                <a:ea typeface="+mn-ea"/>
                <a:cs typeface="+mn-cs"/>
              </a:defRPr>
            </a:lvl2pPr>
            <a:lvl3pPr marL="541338" indent="-276225"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dk1"/>
                </a:solidFill>
                <a:latin typeface="+mn-lt"/>
                <a:ea typeface="+mn-ea"/>
                <a:cs typeface="+mn-cs"/>
              </a:defRPr>
            </a:lvl3pPr>
            <a:lvl4pPr marL="806450" indent="-265113"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dk1"/>
                </a:solidFill>
                <a:latin typeface="+mn-lt"/>
                <a:ea typeface="+mn-ea"/>
                <a:cs typeface="+mn-cs"/>
              </a:defRPr>
            </a:lvl4pPr>
            <a:lvl5pPr marL="1071563" indent="-265113"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457200" lvl="1" indent="0">
              <a:buNone/>
            </a:pPr>
            <a:r>
              <a:rPr lang="nl-NL" sz="2400" dirty="0" err="1"/>
              <a:t>Engaged</a:t>
            </a:r>
            <a:r>
              <a:rPr lang="nl-NL" sz="2400" dirty="0"/>
              <a:t> </a:t>
            </a:r>
            <a:r>
              <a:rPr lang="nl-NL" sz="2400" dirty="0" err="1"/>
              <a:t>Assertive</a:t>
            </a:r>
            <a:r>
              <a:rPr lang="nl-NL" sz="2400" dirty="0"/>
              <a:t> Coping</a:t>
            </a:r>
            <a:r>
              <a:rPr lang="en-US" sz="2400" dirty="0"/>
              <a:t>  </a:t>
            </a:r>
            <a:r>
              <a:rPr lang="nl-NL" sz="2400" b="0" i="0" dirty="0">
                <a:solidFill>
                  <a:srgbClr val="202124"/>
                </a:solidFill>
                <a:effectLst/>
                <a:latin typeface="Google Sans"/>
              </a:rPr>
              <a:t> ↓</a:t>
            </a:r>
            <a:endParaRPr lang="en-US" sz="2400" dirty="0"/>
          </a:p>
        </p:txBody>
      </p:sp>
      <p:sp>
        <p:nvSpPr>
          <p:cNvPr id="13" name="Tijdelijke aanduiding voor inhoud 5">
            <a:extLst>
              <a:ext uri="{FF2B5EF4-FFF2-40B4-BE49-F238E27FC236}">
                <a16:creationId xmlns:a16="http://schemas.microsoft.com/office/drawing/2014/main" id="{CFAA19F5-F6A0-85A4-A68F-B346FBACE814}"/>
              </a:ext>
            </a:extLst>
          </p:cNvPr>
          <p:cNvSpPr txBox="1">
            <a:spLocks/>
          </p:cNvSpPr>
          <p:nvPr/>
        </p:nvSpPr>
        <p:spPr>
          <a:xfrm>
            <a:off x="8212417" y="2209765"/>
            <a:ext cx="3218425" cy="2186381"/>
          </a:xfrm>
          <a:prstGeom prst="roundRect">
            <a:avLst/>
          </a:prstGeom>
        </p:spPr>
        <p:style>
          <a:lnRef idx="2">
            <a:schemeClr val="accent1"/>
          </a:lnRef>
          <a:fillRef idx="1">
            <a:schemeClr val="lt1"/>
          </a:fillRef>
          <a:effectRef idx="0">
            <a:schemeClr val="accent1"/>
          </a:effectRef>
          <a:fontRef idx="minor">
            <a:schemeClr val="dk1"/>
          </a:fontRef>
        </p:style>
        <p:txBody>
          <a:bodyPr/>
          <a:lstStyle>
            <a:lvl1pPr marL="0" indent="0" algn="l" defTabSz="914400" rtl="0" eaLnBrk="1" latinLnBrk="0" hangingPunct="1">
              <a:lnSpc>
                <a:spcPct val="100000"/>
              </a:lnSpc>
              <a:spcBef>
                <a:spcPts val="0"/>
              </a:spcBef>
              <a:spcAft>
                <a:spcPts val="300"/>
              </a:spcAft>
              <a:buFontTx/>
              <a:buNone/>
              <a:defRPr sz="2000" kern="1200">
                <a:solidFill>
                  <a:schemeClr val="dk1"/>
                </a:solidFill>
                <a:latin typeface="+mn-lt"/>
                <a:ea typeface="+mn-ea"/>
                <a:cs typeface="+mn-cs"/>
              </a:defRPr>
            </a:lvl1pPr>
            <a:lvl2pPr marL="265113" indent="-26511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dk1"/>
                </a:solidFill>
                <a:latin typeface="+mn-lt"/>
                <a:ea typeface="+mn-ea"/>
                <a:cs typeface="+mn-cs"/>
              </a:defRPr>
            </a:lvl2pPr>
            <a:lvl3pPr marL="541338" indent="-276225"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dk1"/>
                </a:solidFill>
                <a:latin typeface="+mn-lt"/>
                <a:ea typeface="+mn-ea"/>
                <a:cs typeface="+mn-cs"/>
              </a:defRPr>
            </a:lvl3pPr>
            <a:lvl4pPr marL="806450" indent="-265113"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dk1"/>
                </a:solidFill>
                <a:latin typeface="+mn-lt"/>
                <a:ea typeface="+mn-ea"/>
                <a:cs typeface="+mn-cs"/>
              </a:defRPr>
            </a:lvl4pPr>
            <a:lvl5pPr marL="1071563" indent="-265113" algn="l" defTabSz="914400" rtl="0" eaLnBrk="1" latinLnBrk="0" hangingPunct="1">
              <a:lnSpc>
                <a:spcPct val="100000"/>
              </a:lnSpc>
              <a:spcBef>
                <a:spcPts val="0"/>
              </a:spcBef>
              <a:spcAft>
                <a:spcPts val="300"/>
              </a:spcAft>
              <a:buFont typeface="Calibri" panose="020F050202020403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457200" lvl="1" indent="0">
              <a:buNone/>
            </a:pPr>
            <a:r>
              <a:rPr lang="nl-NL" sz="2400" dirty="0"/>
              <a:t>Tolerant </a:t>
            </a:r>
            <a:r>
              <a:rPr lang="nl-NL" sz="2400" dirty="0" err="1"/>
              <a:t>Inactive</a:t>
            </a:r>
            <a:r>
              <a:rPr lang="nl-NL" sz="2400" dirty="0"/>
              <a:t> Coping </a:t>
            </a:r>
            <a:r>
              <a:rPr lang="nl-NL" sz="2400" dirty="0">
                <a:solidFill>
                  <a:srgbClr val="202124"/>
                </a:solidFill>
                <a:latin typeface="Google Sans"/>
              </a:rPr>
              <a:t> ↓</a:t>
            </a:r>
            <a:endParaRPr lang="en-US" sz="2400" dirty="0"/>
          </a:p>
        </p:txBody>
      </p:sp>
    </p:spTree>
    <p:extLst>
      <p:ext uri="{BB962C8B-B14F-4D97-AF65-F5344CB8AC3E}">
        <p14:creationId xmlns:p14="http://schemas.microsoft.com/office/powerpoint/2010/main" val="1996751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13" end="1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rkin AIAR Theme">
  <a:themeElements>
    <a:clrScheme name="00 Arkin AIAR">
      <a:dk1>
        <a:srgbClr val="232F60"/>
      </a:dk1>
      <a:lt1>
        <a:srgbClr val="FFFFFF"/>
      </a:lt1>
      <a:dk2>
        <a:srgbClr val="151515"/>
      </a:dk2>
      <a:lt2>
        <a:srgbClr val="FFFFFF"/>
      </a:lt2>
      <a:accent1>
        <a:srgbClr val="8CC7EE"/>
      </a:accent1>
      <a:accent2>
        <a:srgbClr val="63B9E9"/>
      </a:accent2>
      <a:accent3>
        <a:srgbClr val="232F60"/>
      </a:accent3>
      <a:accent4>
        <a:srgbClr val="544496"/>
      </a:accent4>
      <a:accent5>
        <a:srgbClr val="B2B2B2"/>
      </a:accent5>
      <a:accent6>
        <a:srgbClr val="E0E0E0"/>
      </a:accent6>
      <a:hlink>
        <a:srgbClr val="D61317"/>
      </a:hlink>
      <a:folHlink>
        <a:srgbClr val="000000"/>
      </a:folHlink>
    </a:clrScheme>
    <a:fontScheme name="00 Arkin Sinai">
      <a:majorFont>
        <a:latin typeface="Lucida Sans"/>
        <a:ea typeface=""/>
        <a:cs typeface=""/>
      </a:majorFont>
      <a:minorFont>
        <a:latin typeface="Lucida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2">
              <a:lumMod val="25000"/>
              <a:lumOff val="75000"/>
            </a:schemeClr>
          </a:solidFill>
        </a:ln>
      </a:spPr>
      <a:bodyPr rtlCol="0" anchor="ctr"/>
      <a:lstStyle>
        <a:defPPr algn="ctr">
          <a:defRPr dirty="0" err="1">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20220407 ARK22_017_presentatie_dwpo_v1" id="{0513F4C8-D31C-4A1D-B1CB-CFA531E94D37}" vid="{BDDD840D-67AA-439C-BD3F-66CEDCC15BA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483</TotalTime>
  <Words>2862</Words>
  <Application>Microsoft Office PowerPoint</Application>
  <PresentationFormat>Widescreen</PresentationFormat>
  <Paragraphs>240</Paragraphs>
  <Slides>17</Slides>
  <Notes>1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8" baseType="lpstr">
      <vt:lpstr>MinionPro-Regular</vt:lpstr>
      <vt:lpstr>AdvOT46dcae81+20</vt:lpstr>
      <vt:lpstr>Lucida Sans</vt:lpstr>
      <vt:lpstr>AdvOT46dcae81</vt:lpstr>
      <vt:lpstr>Arial</vt:lpstr>
      <vt:lpstr>AdvOT65f8a23b.I</vt:lpstr>
      <vt:lpstr>Calibri</vt:lpstr>
      <vt:lpstr>AdvOT56309c18.I</vt:lpstr>
      <vt:lpstr>Google Sans</vt:lpstr>
      <vt:lpstr>Arkin AIAR Theme</vt:lpstr>
      <vt:lpstr>think-cell Slide</vt:lpstr>
      <vt:lpstr>Helping family members affected by a relative’s substance use or gambling: an evaluation study of the 5-Step Method delivered in the Netherlands  </vt:lpstr>
      <vt:lpstr>Background</vt:lpstr>
      <vt:lpstr>5-Step Method</vt:lpstr>
      <vt:lpstr>Objectives</vt:lpstr>
      <vt:lpstr>Objectives</vt:lpstr>
      <vt:lpstr>Research question</vt:lpstr>
      <vt:lpstr>Methods – Number of measurements collected</vt:lpstr>
      <vt:lpstr>Results – 5-Step Method</vt:lpstr>
      <vt:lpstr>Results – 5-Step Method</vt:lpstr>
      <vt:lpstr>Quotes of anonymous participants</vt:lpstr>
      <vt:lpstr>Quotes of anonymous participants</vt:lpstr>
      <vt:lpstr>Discussion – Limitations </vt:lpstr>
      <vt:lpstr>Discussion – Recommendations </vt:lpstr>
      <vt:lpstr>Conclusion</vt:lpstr>
      <vt:lpstr>Thank you! Any questions?</vt:lpstr>
      <vt:lpstr>References</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e  de Weerd</dc:creator>
  <cp:lastModifiedBy>Namen, D.M. van (Dorine)</cp:lastModifiedBy>
  <cp:revision>216</cp:revision>
  <dcterms:created xsi:type="dcterms:W3CDTF">2021-11-26T14:41:28Z</dcterms:created>
  <dcterms:modified xsi:type="dcterms:W3CDTF">2023-06-05T13:13:35Z</dcterms:modified>
</cp:coreProperties>
</file>